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8" r:id="rId1"/>
    <p:sldMasterId id="2147483652" r:id="rId2"/>
    <p:sldMasterId id="2147483665" r:id="rId3"/>
    <p:sldMasterId id="2147483681" r:id="rId4"/>
    <p:sldMasterId id="2147483755" r:id="rId5"/>
  </p:sldMasterIdLst>
  <p:notesMasterIdLst>
    <p:notesMasterId r:id="rId10"/>
  </p:notesMasterIdLst>
  <p:sldIdLst>
    <p:sldId id="256" r:id="rId6"/>
    <p:sldId id="328" r:id="rId7"/>
    <p:sldId id="327" r:id="rId8"/>
    <p:sldId id="280" r:id="rId9"/>
  </p:sldIdLst>
  <p:sldSz cx="9144000" cy="6858000" type="screen4x3"/>
  <p:notesSz cx="7010400" cy="92964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Candara" panose="020E0502030303020204" pitchFamily="34" charset="0"/>
      <p:regular r:id="rId15"/>
      <p:bold r:id="rId16"/>
      <p:italic r:id="rId17"/>
      <p:boldItalic r:id="rId18"/>
    </p:embeddedFont>
    <p:embeddedFont>
      <p:font typeface="Arial Narrow" panose="020B0606020202030204" pitchFamily="34" charset="0"/>
      <p:regular r:id="rId19"/>
      <p:bold r:id="rId20"/>
      <p:italic r:id="rId21"/>
      <p:boldItalic r:id="rId22"/>
    </p:embeddedFont>
    <p:embeddedFont>
      <p:font typeface="Libre Franklin Medium"/>
      <p:regular r:id="rId23"/>
      <p:bold r:id="rId24"/>
      <p:italic r:id="rId25"/>
      <p:boldItalic r:id="rId2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go="http://customooxmlschemas.google.com/" r:id="rId72" roundtripDataSignature="AMtx7mhGEQ8WJEMhoYODb3GG3rMbgbGL1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FF9C"/>
    <a:srgbClr val="DAFFFE"/>
    <a:srgbClr val="0808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82360FA-FE94-447A-B892-913482B91887}">
  <a:tblStyle styleId="{B82360FA-FE94-447A-B892-913482B91887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2"/>
    <p:restoredTop sz="91176" autoAdjust="0"/>
  </p:normalViewPr>
  <p:slideViewPr>
    <p:cSldViewPr snapToGrid="0">
      <p:cViewPr varScale="1">
        <p:scale>
          <a:sx n="105" d="100"/>
          <a:sy n="105" d="100"/>
        </p:scale>
        <p:origin x="179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font" Target="fonts/font16.fntdata"/><Relationship Id="rId72" Type="http://customschemas.google.com/relationships/presentationmetadata" Target="meta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11.fntdata"/><Relationship Id="rId76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font" Target="fonts/font1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73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font" Target="fonts/font4.fntdata"/><Relationship Id="rId22" Type="http://schemas.openxmlformats.org/officeDocument/2006/relationships/font" Target="fonts/font12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dt" idx="10"/>
          </p:nvPr>
        </p:nvSpPr>
        <p:spPr>
          <a:xfrm>
            <a:off x="3970939" y="0"/>
            <a:ext cx="3037840" cy="309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387350"/>
            <a:ext cx="5578475" cy="41830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" name="Google Shape;5;n"/>
          <p:cNvSpPr txBox="1">
            <a:spLocks noGrp="1"/>
          </p:cNvSpPr>
          <p:nvPr>
            <p:ph type="body" idx="1"/>
          </p:nvPr>
        </p:nvSpPr>
        <p:spPr>
          <a:xfrm>
            <a:off x="701040" y="4725670"/>
            <a:ext cx="5608320" cy="3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" name="Google Shape;6;n"/>
          <p:cNvSpPr txBox="1">
            <a:spLocks noGrp="1"/>
          </p:cNvSpPr>
          <p:nvPr>
            <p:ph type="sldNum" idx="12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50" tIns="46575" rIns="93150" bIns="4657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200" b="0" i="0" u="none" strike="noStrike" cap="none">
              <a:solidFill>
                <a:srgbClr val="000000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" name="Google Shape;88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387350"/>
            <a:ext cx="5578475" cy="41830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1" name="Google Shape;881;p1:notes"/>
          <p:cNvSpPr txBox="1">
            <a:spLocks noGrp="1"/>
          </p:cNvSpPr>
          <p:nvPr>
            <p:ph type="body" idx="1"/>
          </p:nvPr>
        </p:nvSpPr>
        <p:spPr>
          <a:xfrm>
            <a:off x="701040" y="4725670"/>
            <a:ext cx="5608320" cy="3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b="1" i="1"/>
          </a:p>
        </p:txBody>
      </p:sp>
      <p:sp>
        <p:nvSpPr>
          <p:cNvPr id="882" name="Google Shape;882;p1:notes"/>
          <p:cNvSpPr txBox="1">
            <a:spLocks noGrp="1"/>
          </p:cNvSpPr>
          <p:nvPr>
            <p:ph type="sldNum" idx="12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50" tIns="46575" rIns="93150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2:notes"/>
          <p:cNvSpPr txBox="1">
            <a:spLocks noGrp="1"/>
          </p:cNvSpPr>
          <p:nvPr>
            <p:ph type="body" idx="1"/>
          </p:nvPr>
        </p:nvSpPr>
        <p:spPr>
          <a:xfrm>
            <a:off x="701040" y="4725670"/>
            <a:ext cx="5608320" cy="3873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1" name="Google Shape;89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387350"/>
            <a:ext cx="5578475" cy="41830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78341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" name="Google Shape;1055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387350"/>
            <a:ext cx="5578475" cy="41830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6" name="Google Shape;1056;p20:notes"/>
          <p:cNvSpPr txBox="1">
            <a:spLocks noGrp="1"/>
          </p:cNvSpPr>
          <p:nvPr>
            <p:ph type="body" idx="1"/>
          </p:nvPr>
        </p:nvSpPr>
        <p:spPr>
          <a:xfrm>
            <a:off x="701040" y="4725670"/>
            <a:ext cx="5608320" cy="3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US" sz="1200" dirty="0">
                <a:latin typeface="Candara"/>
                <a:ea typeface="Candara"/>
                <a:cs typeface="Candara"/>
                <a:sym typeface="Candara"/>
              </a:rPr>
              <a:t>Next up is…</a:t>
            </a:r>
            <a:endParaRPr sz="1200" dirty="0">
              <a:latin typeface="Candara"/>
              <a:ea typeface="Candara"/>
              <a:cs typeface="Candara"/>
              <a:sym typeface="Candara"/>
            </a:endParaRPr>
          </a:p>
        </p:txBody>
      </p:sp>
      <p:sp>
        <p:nvSpPr>
          <p:cNvPr id="1057" name="Google Shape;1057;p20:notes"/>
          <p:cNvSpPr txBox="1">
            <a:spLocks noGrp="1"/>
          </p:cNvSpPr>
          <p:nvPr>
            <p:ph type="sldNum" idx="12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50" tIns="46575" rIns="93150" bIns="46575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satellites" TargetMode="External"/><Relationship Id="rId13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12" Type="http://schemas.openxmlformats.org/officeDocument/2006/relationships/hyperlink" Target="http://www.noaa.gov/oceans-coasts" TargetMode="External"/><Relationship Id="rId2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noaa.gov/research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openxmlformats.org/officeDocument/2006/relationships/image" Target="../media/image7.png"/><Relationship Id="rId10" Type="http://schemas.openxmlformats.org/officeDocument/2006/relationships/hyperlink" Target="http://www.noaa.gov/fisheries" TargetMode="External"/><Relationship Id="rId4" Type="http://schemas.openxmlformats.org/officeDocument/2006/relationships/hyperlink" Target="http://www.noaa.gov/marine-aviation" TargetMode="External"/><Relationship Id="rId9" Type="http://schemas.openxmlformats.org/officeDocument/2006/relationships/image" Target="../media/image4.png"/><Relationship Id="rId14" Type="http://schemas.openxmlformats.org/officeDocument/2006/relationships/hyperlink" Target="http://www.noaa.gov/weather" TargetMode="Externa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satellites" TargetMode="External"/><Relationship Id="rId13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12" Type="http://schemas.openxmlformats.org/officeDocument/2006/relationships/hyperlink" Target="http://www.noaa.gov/oceans-coasts" TargetMode="External"/><Relationship Id="rId2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://www.noaa.gov/research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openxmlformats.org/officeDocument/2006/relationships/image" Target="../media/image7.png"/><Relationship Id="rId10" Type="http://schemas.openxmlformats.org/officeDocument/2006/relationships/hyperlink" Target="http://www.noaa.gov/fisheries" TargetMode="External"/><Relationship Id="rId4" Type="http://schemas.openxmlformats.org/officeDocument/2006/relationships/hyperlink" Target="http://www.noaa.gov/marine-aviation" TargetMode="External"/><Relationship Id="rId9" Type="http://schemas.openxmlformats.org/officeDocument/2006/relationships/image" Target="../media/image4.png"/><Relationship Id="rId14" Type="http://schemas.openxmlformats.org/officeDocument/2006/relationships/hyperlink" Target="http://www.noaa.gov/weather" TargetMode="Externa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satellites" TargetMode="External"/><Relationship Id="rId13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3.png"/><Relationship Id="rId12" Type="http://schemas.openxmlformats.org/officeDocument/2006/relationships/hyperlink" Target="http://www.noaa.gov/oceans-coasts" TargetMode="External"/><Relationship Id="rId2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noaa.gov/research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openxmlformats.org/officeDocument/2006/relationships/image" Target="../media/image7.png"/><Relationship Id="rId10" Type="http://schemas.openxmlformats.org/officeDocument/2006/relationships/hyperlink" Target="http://www.noaa.gov/fisheries" TargetMode="External"/><Relationship Id="rId4" Type="http://schemas.openxmlformats.org/officeDocument/2006/relationships/hyperlink" Target="http://www.noaa.gov/marine-aviation" TargetMode="External"/><Relationship Id="rId9" Type="http://schemas.openxmlformats.org/officeDocument/2006/relationships/image" Target="../media/image4.png"/><Relationship Id="rId14" Type="http://schemas.openxmlformats.org/officeDocument/2006/relationships/hyperlink" Target="http://www.noaa.gov/weather" TargetMode="Externa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fisheries" TargetMode="External"/><Relationship Id="rId13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12" Type="http://schemas.openxmlformats.org/officeDocument/2006/relationships/hyperlink" Target="http://www.noaa.gov/weather" TargetMode="External"/><Relationship Id="rId17" Type="http://schemas.openxmlformats.org/officeDocument/2006/relationships/image" Target="../media/image10.png"/><Relationship Id="rId2" Type="http://schemas.openxmlformats.org/officeDocument/2006/relationships/hyperlink" Target="http://www.noaa.gov/marine-aviation" TargetMode="External"/><Relationship Id="rId16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3.xml"/><Relationship Id="rId6" Type="http://schemas.openxmlformats.org/officeDocument/2006/relationships/hyperlink" Target="http://www.noaa.gov/satellites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5" Type="http://schemas.openxmlformats.org/officeDocument/2006/relationships/image" Target="../media/image9.png"/><Relationship Id="rId10" Type="http://schemas.openxmlformats.org/officeDocument/2006/relationships/hyperlink" Target="http://www.noaa.gov/oceans-coasts" TargetMode="External"/><Relationship Id="rId4" Type="http://schemas.openxmlformats.org/officeDocument/2006/relationships/hyperlink" Target="http://www.noaa.gov/research" TargetMode="External"/><Relationship Id="rId9" Type="http://schemas.openxmlformats.org/officeDocument/2006/relationships/image" Target="../media/image5.png"/><Relationship Id="rId14" Type="http://schemas.openxmlformats.org/officeDocument/2006/relationships/hyperlink" Target="https://www.commerce.gov/" TargetMode="Externa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satellites" TargetMode="External"/><Relationship Id="rId13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3.png"/><Relationship Id="rId12" Type="http://schemas.openxmlformats.org/officeDocument/2006/relationships/hyperlink" Target="http://www.noaa.gov/oceans-coasts" TargetMode="External"/><Relationship Id="rId2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noaa.gov/research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openxmlformats.org/officeDocument/2006/relationships/image" Target="../media/image7.png"/><Relationship Id="rId10" Type="http://schemas.openxmlformats.org/officeDocument/2006/relationships/hyperlink" Target="http://www.noaa.gov/fisheries" TargetMode="External"/><Relationship Id="rId4" Type="http://schemas.openxmlformats.org/officeDocument/2006/relationships/hyperlink" Target="http://www.noaa.gov/marine-aviation" TargetMode="External"/><Relationship Id="rId9" Type="http://schemas.openxmlformats.org/officeDocument/2006/relationships/image" Target="../media/image4.png"/><Relationship Id="rId14" Type="http://schemas.openxmlformats.org/officeDocument/2006/relationships/hyperlink" Target="http://www.noaa.gov/weather" TargetMode="Externa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hyperlink" Target="http://www.noaa.gov/satellites" TargetMode="External"/><Relationship Id="rId18" Type="http://schemas.openxmlformats.org/officeDocument/2006/relationships/image" Target="../media/image6.png"/><Relationship Id="rId3" Type="http://schemas.openxmlformats.org/officeDocument/2006/relationships/tags" Target="../tags/tag28.xml"/><Relationship Id="rId21" Type="http://schemas.openxmlformats.org/officeDocument/2006/relationships/image" Target="../media/image14.jpg"/><Relationship Id="rId7" Type="http://schemas.openxmlformats.org/officeDocument/2006/relationships/hyperlink" Target="http://www.noaa.gov/" TargetMode="External"/><Relationship Id="rId12" Type="http://schemas.openxmlformats.org/officeDocument/2006/relationships/image" Target="../media/image3.png"/><Relationship Id="rId17" Type="http://schemas.openxmlformats.org/officeDocument/2006/relationships/hyperlink" Target="http://www.noaa.gov/oceans-coasts" TargetMode="External"/><Relationship Id="rId2" Type="http://schemas.openxmlformats.org/officeDocument/2006/relationships/tags" Target="../tags/tag27.xml"/><Relationship Id="rId16" Type="http://schemas.openxmlformats.org/officeDocument/2006/relationships/image" Target="../media/image5.png"/><Relationship Id="rId20" Type="http://schemas.openxmlformats.org/officeDocument/2006/relationships/image" Target="../media/image7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11" Type="http://schemas.openxmlformats.org/officeDocument/2006/relationships/hyperlink" Target="http://www.noaa.gov/research" TargetMode="External"/><Relationship Id="rId5" Type="http://schemas.openxmlformats.org/officeDocument/2006/relationships/oleObject" Target="../embeddings/oleObject2.bin"/><Relationship Id="rId15" Type="http://schemas.openxmlformats.org/officeDocument/2006/relationships/hyperlink" Target="http://www.noaa.gov/fisheries" TargetMode="External"/><Relationship Id="rId10" Type="http://schemas.openxmlformats.org/officeDocument/2006/relationships/image" Target="../media/image2.png"/><Relationship Id="rId19" Type="http://schemas.openxmlformats.org/officeDocument/2006/relationships/hyperlink" Target="http://www.noaa.gov/weather" TargetMode="External"/><Relationship Id="rId4" Type="http://schemas.openxmlformats.org/officeDocument/2006/relationships/slideMaster" Target="../slideMasters/slideMaster5.xml"/><Relationship Id="rId9" Type="http://schemas.openxmlformats.org/officeDocument/2006/relationships/hyperlink" Target="http://www.noaa.gov/marine-aviation" TargetMode="External"/><Relationship Id="rId1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oaa.gov/fisheries" TargetMode="External"/><Relationship Id="rId13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12" Type="http://schemas.openxmlformats.org/officeDocument/2006/relationships/hyperlink" Target="http://www.noaa.gov/weather" TargetMode="External"/><Relationship Id="rId17" Type="http://schemas.openxmlformats.org/officeDocument/2006/relationships/image" Target="../media/image10.png"/><Relationship Id="rId2" Type="http://schemas.openxmlformats.org/officeDocument/2006/relationships/hyperlink" Target="http://www.noaa.gov/marine-aviation" TargetMode="External"/><Relationship Id="rId16" Type="http://schemas.openxmlformats.org/officeDocument/2006/relationships/hyperlink" Target="http://www.noaa.gov/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://www.noaa.gov/satellites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3.png"/><Relationship Id="rId15" Type="http://schemas.openxmlformats.org/officeDocument/2006/relationships/image" Target="../media/image9.png"/><Relationship Id="rId10" Type="http://schemas.openxmlformats.org/officeDocument/2006/relationships/hyperlink" Target="http://www.noaa.gov/oceans-coasts" TargetMode="External"/><Relationship Id="rId4" Type="http://schemas.openxmlformats.org/officeDocument/2006/relationships/hyperlink" Target="http://www.noaa.gov/research" TargetMode="External"/><Relationship Id="rId9" Type="http://schemas.openxmlformats.org/officeDocument/2006/relationships/image" Target="../media/image5.png"/><Relationship Id="rId14" Type="http://schemas.openxmlformats.org/officeDocument/2006/relationships/hyperlink" Target="https://www.commerce.gov/" TargetMode="Externa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k Blue">
  <p:cSld name="1_Dk Blu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31"/>
          <p:cNvSpPr/>
          <p:nvPr/>
        </p:nvSpPr>
        <p:spPr>
          <a:xfrm>
            <a:off x="410810" y="0"/>
            <a:ext cx="8730845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10;p31"/>
          <p:cNvSpPr>
            <a:spLocks noGrp="1"/>
          </p:cNvSpPr>
          <p:nvPr>
            <p:ph type="pic" idx="2"/>
          </p:nvPr>
        </p:nvSpPr>
        <p:spPr>
          <a:xfrm>
            <a:off x="412576" y="4267200"/>
            <a:ext cx="8729079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1"/>
          <p:cNvSpPr txBox="1">
            <a:spLocks noGrp="1"/>
          </p:cNvSpPr>
          <p:nvPr>
            <p:ph type="body" idx="1"/>
          </p:nvPr>
        </p:nvSpPr>
        <p:spPr>
          <a:xfrm>
            <a:off x="780334" y="2590798"/>
            <a:ext cx="1371600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31"/>
          <p:cNvSpPr txBox="1">
            <a:spLocks noGrp="1"/>
          </p:cNvSpPr>
          <p:nvPr>
            <p:ph type="body" idx="3"/>
          </p:nvPr>
        </p:nvSpPr>
        <p:spPr>
          <a:xfrm>
            <a:off x="780334" y="3733800"/>
            <a:ext cx="1295400" cy="268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00000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31"/>
          <p:cNvSpPr txBox="1">
            <a:spLocks noGrp="1"/>
          </p:cNvSpPr>
          <p:nvPr>
            <p:ph type="body" idx="4"/>
          </p:nvPr>
        </p:nvSpPr>
        <p:spPr>
          <a:xfrm>
            <a:off x="2514600" y="768745"/>
            <a:ext cx="6096000" cy="1358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31"/>
          <p:cNvSpPr txBox="1">
            <a:spLocks noGrp="1"/>
          </p:cNvSpPr>
          <p:nvPr>
            <p:ph type="body" idx="5"/>
          </p:nvPr>
        </p:nvSpPr>
        <p:spPr>
          <a:xfrm>
            <a:off x="2515037" y="2262187"/>
            <a:ext cx="6092516" cy="938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31"/>
          <p:cNvSpPr txBox="1">
            <a:spLocks noGrp="1"/>
          </p:cNvSpPr>
          <p:nvPr>
            <p:ph type="body" idx="6"/>
          </p:nvPr>
        </p:nvSpPr>
        <p:spPr>
          <a:xfrm>
            <a:off x="2514600" y="3311237"/>
            <a:ext cx="6096000" cy="69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16" name="Google Shape;16;p31"/>
          <p:cNvCxnSpPr/>
          <p:nvPr/>
        </p:nvCxnSpPr>
        <p:spPr>
          <a:xfrm>
            <a:off x="2285999" y="609600"/>
            <a:ext cx="0" cy="3473450"/>
          </a:xfrm>
          <a:prstGeom prst="straightConnector1">
            <a:avLst/>
          </a:prstGeom>
          <a:noFill/>
          <a:ln w="12700" cap="flat" cmpd="sng">
            <a:solidFill>
              <a:srgbClr val="3FAF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7" name="Google Shape;17;p31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3400" y="533400"/>
            <a:ext cx="1762136" cy="213391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8" name="Google Shape;18;p31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19" name="Google Shape;19;p31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20;p31"/>
            <p:cNvSpPr/>
            <p:nvPr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1" name="Google Shape;21;p31" descr="C:\Users\jacqui.fenner\Desktop\PTT templates\images\noaa icons\noaa_icons-04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Google Shape;22;p31" descr="C:\Users\jacqui.fenner\Desktop\PTT templates\images\noaa icons\noaa_icons-05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Google Shape;23;p31" descr="C:\Users\jacqui.fenner\Desktop\PTT templates\images\noaa icons\noaa_icons-06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" name="Google Shape;24;p31" descr="C:\Users\jacqui.fenner\Desktop\PTT templates\images\noaa icons\noaa_icons-07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5" name="Google Shape;25;p31" descr="C:\Users\jacqui.fenner\Desktop\PTT templates\images\noaa icons\noaa_icons-08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" name="Google Shape;26;p31" descr="C:\Users\jacqui.fenner\Desktop\PTT templates\images\noaa icons\noaa_icons-10.png">
              <a:hlinkClick r:id="rId14"/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" name="Google Shape;27;p31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8" name="Google Shape;28;p31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9" name="Google Shape;29;p31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0" name="Google Shape;30;p31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1" name="Google Shape;31;p31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" name="Google Shape;32;p31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3" name="Google Shape;33;p31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4" name="Google Shape;34;p31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35" name="Google Shape;35;p31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 Bottom">
  <p:cSld name="1 Column, Wide Pic Bottom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61"/>
          <p:cNvSpPr>
            <a:spLocks noGrp="1"/>
          </p:cNvSpPr>
          <p:nvPr>
            <p:ph type="pic" idx="2"/>
          </p:nvPr>
        </p:nvSpPr>
        <p:spPr>
          <a:xfrm>
            <a:off x="762001" y="4419600"/>
            <a:ext cx="7921784" cy="1752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" name="Google Shape;181;p61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7933912" cy="30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2" name="Google Shape;182;p61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9339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62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5" name="Google Shape;185;p62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24475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6" name="Google Shape;186;p62"/>
          <p:cNvSpPr txBox="1">
            <a:spLocks noGrp="1"/>
          </p:cNvSpPr>
          <p:nvPr>
            <p:ph type="body" idx="2"/>
          </p:nvPr>
        </p:nvSpPr>
        <p:spPr>
          <a:xfrm>
            <a:off x="6248400" y="1219200"/>
            <a:ext cx="24475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7" name="Google Shape;187;p62"/>
          <p:cNvSpPr txBox="1">
            <a:spLocks noGrp="1"/>
          </p:cNvSpPr>
          <p:nvPr>
            <p:ph type="body" idx="3"/>
          </p:nvPr>
        </p:nvSpPr>
        <p:spPr>
          <a:xfrm>
            <a:off x="3500645" y="1219200"/>
            <a:ext cx="24475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, 3 Pic">
  <p:cSld name="3 Column, 3 Pic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63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0" name="Google Shape;190;p63"/>
          <p:cNvSpPr>
            <a:spLocks noGrp="1"/>
          </p:cNvSpPr>
          <p:nvPr>
            <p:ph type="pic" idx="2"/>
          </p:nvPr>
        </p:nvSpPr>
        <p:spPr>
          <a:xfrm>
            <a:off x="762001" y="1219200"/>
            <a:ext cx="2435438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" name="Google Shape;191;p63"/>
          <p:cNvSpPr>
            <a:spLocks noGrp="1"/>
          </p:cNvSpPr>
          <p:nvPr>
            <p:ph type="pic" idx="3"/>
          </p:nvPr>
        </p:nvSpPr>
        <p:spPr>
          <a:xfrm>
            <a:off x="3508162" y="1219200"/>
            <a:ext cx="2435438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" name="Google Shape;192;p63"/>
          <p:cNvSpPr>
            <a:spLocks noGrp="1"/>
          </p:cNvSpPr>
          <p:nvPr>
            <p:ph type="pic" idx="4"/>
          </p:nvPr>
        </p:nvSpPr>
        <p:spPr>
          <a:xfrm>
            <a:off x="6251362" y="1219200"/>
            <a:ext cx="2435438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" name="Google Shape;193;p63"/>
          <p:cNvSpPr txBox="1">
            <a:spLocks noGrp="1"/>
          </p:cNvSpPr>
          <p:nvPr>
            <p:ph type="body" idx="1"/>
          </p:nvPr>
        </p:nvSpPr>
        <p:spPr>
          <a:xfrm>
            <a:off x="752889" y="3048000"/>
            <a:ext cx="2447512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4" name="Google Shape;194;p63"/>
          <p:cNvSpPr txBox="1">
            <a:spLocks noGrp="1"/>
          </p:cNvSpPr>
          <p:nvPr>
            <p:ph type="body" idx="5"/>
          </p:nvPr>
        </p:nvSpPr>
        <p:spPr>
          <a:xfrm>
            <a:off x="6248400" y="3048000"/>
            <a:ext cx="2447512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" name="Google Shape;195;p63"/>
          <p:cNvSpPr txBox="1">
            <a:spLocks noGrp="1"/>
          </p:cNvSpPr>
          <p:nvPr>
            <p:ph type="body" idx="6"/>
          </p:nvPr>
        </p:nvSpPr>
        <p:spPr>
          <a:xfrm>
            <a:off x="3500645" y="3048000"/>
            <a:ext cx="2447512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k Blue">
  <p:cSld name="1_Dk Blue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45"/>
          <p:cNvSpPr/>
          <p:nvPr/>
        </p:nvSpPr>
        <p:spPr>
          <a:xfrm>
            <a:off x="410811" y="2"/>
            <a:ext cx="8730845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45"/>
          <p:cNvSpPr>
            <a:spLocks noGrp="1"/>
          </p:cNvSpPr>
          <p:nvPr>
            <p:ph type="pic" idx="2"/>
          </p:nvPr>
        </p:nvSpPr>
        <p:spPr>
          <a:xfrm>
            <a:off x="412577" y="4267200"/>
            <a:ext cx="8729079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8" name="Google Shape;228;p45"/>
          <p:cNvSpPr txBox="1">
            <a:spLocks noGrp="1"/>
          </p:cNvSpPr>
          <p:nvPr>
            <p:ph type="body" idx="1"/>
          </p:nvPr>
        </p:nvSpPr>
        <p:spPr>
          <a:xfrm>
            <a:off x="780334" y="2590798"/>
            <a:ext cx="1371600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  <a:defRPr sz="1800" b="1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lvl="1" indent="-2286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lvl="2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lvl="3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lvl="4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45"/>
          <p:cNvSpPr txBox="1">
            <a:spLocks noGrp="1"/>
          </p:cNvSpPr>
          <p:nvPr>
            <p:ph type="body" idx="3"/>
          </p:nvPr>
        </p:nvSpPr>
        <p:spPr>
          <a:xfrm>
            <a:off x="780334" y="3733802"/>
            <a:ext cx="1295400" cy="268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  <a:defRPr sz="1600" b="0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lvl="1" indent="-2286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lvl="2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lvl="3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lvl="4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None/>
              <a:defRPr sz="1800" b="1"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230" name="Google Shape;230;p45"/>
          <p:cNvSpPr txBox="1">
            <a:spLocks noGrp="1"/>
          </p:cNvSpPr>
          <p:nvPr>
            <p:ph type="body" idx="4"/>
          </p:nvPr>
        </p:nvSpPr>
        <p:spPr>
          <a:xfrm>
            <a:off x="2514600" y="768747"/>
            <a:ext cx="6096000" cy="1358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  <a:defRPr sz="4400" b="1">
                <a:solidFill>
                  <a:schemeClr val="lt1"/>
                </a:solidFill>
              </a:defRPr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•"/>
              <a:defRPr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45"/>
          <p:cNvSpPr txBox="1">
            <a:spLocks noGrp="1"/>
          </p:cNvSpPr>
          <p:nvPr>
            <p:ph type="body" idx="5"/>
          </p:nvPr>
        </p:nvSpPr>
        <p:spPr>
          <a:xfrm>
            <a:off x="2515037" y="2262189"/>
            <a:ext cx="6092516" cy="938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  <a:defRPr sz="2800" b="0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•"/>
              <a:defRPr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232" name="Google Shape;232;p45"/>
          <p:cNvSpPr txBox="1">
            <a:spLocks noGrp="1"/>
          </p:cNvSpPr>
          <p:nvPr>
            <p:ph type="body" idx="6"/>
          </p:nvPr>
        </p:nvSpPr>
        <p:spPr>
          <a:xfrm>
            <a:off x="2514600" y="3311239"/>
            <a:ext cx="6096000" cy="69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  <a:defRPr sz="1800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•"/>
              <a:defRPr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cxnSp>
        <p:nvCxnSpPr>
          <p:cNvPr id="233" name="Google Shape;233;p45"/>
          <p:cNvCxnSpPr/>
          <p:nvPr/>
        </p:nvCxnSpPr>
        <p:spPr>
          <a:xfrm>
            <a:off x="2285999" y="609600"/>
            <a:ext cx="0" cy="3473450"/>
          </a:xfrm>
          <a:prstGeom prst="straightConnector1">
            <a:avLst/>
          </a:prstGeom>
          <a:noFill/>
          <a:ln w="12700" cap="flat" cmpd="sng">
            <a:solidFill>
              <a:srgbClr val="3687F3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4" name="Google Shape;234;p45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3401" y="533400"/>
            <a:ext cx="1762136" cy="213391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5" name="Google Shape;235;p45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236" name="Google Shape;236;p45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7" name="Google Shape;237;p45"/>
            <p:cNvSpPr/>
            <p:nvPr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38" name="Google Shape;238;p45" descr="C:\Users\jacqui.fenner\Desktop\PTT templates\images\noaa icons\noaa_icons-04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9" name="Google Shape;239;p45" descr="C:\Users\jacqui.fenner\Desktop\PTT templates\images\noaa icons\noaa_icons-05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0" name="Google Shape;240;p45" descr="C:\Users\jacqui.fenner\Desktop\PTT templates\images\noaa icons\noaa_icons-06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1" name="Google Shape;241;p45" descr="C:\Users\jacqui.fenner\Desktop\PTT templates\images\noaa icons\noaa_icons-07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2" name="Google Shape;242;p45" descr="C:\Users\jacqui.fenner\Desktop\PTT templates\images\noaa icons\noaa_icons-08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3" name="Google Shape;243;p45" descr="C:\Users\jacqui.fenner\Desktop\PTT templates\images\noaa icons\noaa_icons-10.png">
              <a:hlinkClick r:id="rId14"/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4" name="Google Shape;244;p45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45" name="Google Shape;245;p45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46" name="Google Shape;246;p45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47" name="Google Shape;247;p45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48" name="Google Shape;248;p45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49" name="Google Shape;249;p45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50" name="Google Shape;250;p45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51" name="Google Shape;251;p45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252" name="Google Shape;252;p45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74"/>
          <p:cNvSpPr txBox="1">
            <a:spLocks noGrp="1"/>
          </p:cNvSpPr>
          <p:nvPr>
            <p:ph type="ctrTitle"/>
          </p:nvPr>
        </p:nvSpPr>
        <p:spPr>
          <a:xfrm>
            <a:off x="685800" y="2130426"/>
            <a:ext cx="7772400" cy="14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74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92B7"/>
              </a:buClr>
              <a:buSzPts val="3200"/>
              <a:buNone/>
              <a:defRPr>
                <a:solidFill>
                  <a:srgbClr val="8892B7"/>
                </a:solidFill>
              </a:defRPr>
            </a:lvl1pPr>
            <a:lvl2pPr lvl="1" algn="ctr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8892B7"/>
              </a:buClr>
              <a:buSzPts val="2800"/>
              <a:buNone/>
              <a:defRPr>
                <a:solidFill>
                  <a:srgbClr val="8892B7"/>
                </a:solidFill>
              </a:defRPr>
            </a:lvl2pPr>
            <a:lvl3pPr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92B7"/>
              </a:buClr>
              <a:buSzPts val="2400"/>
              <a:buNone/>
              <a:defRPr>
                <a:solidFill>
                  <a:srgbClr val="8892B7"/>
                </a:solidFill>
              </a:defRPr>
            </a:lvl3pPr>
            <a:lvl4pPr lvl="3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92B7"/>
              </a:buClr>
              <a:buSzPts val="2000"/>
              <a:buNone/>
              <a:defRPr>
                <a:solidFill>
                  <a:srgbClr val="8892B7"/>
                </a:solidFill>
              </a:defRPr>
            </a:lvl4pPr>
            <a:lvl5pPr lvl="4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92B7"/>
              </a:buClr>
              <a:buSzPts val="1800"/>
              <a:buNone/>
              <a:defRPr>
                <a:solidFill>
                  <a:srgbClr val="8892B7"/>
                </a:solidFill>
              </a:defRPr>
            </a:lvl5pPr>
            <a:lvl6pPr lvl="5" algn="ctr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92B7"/>
              </a:buClr>
              <a:buSzPts val="1600"/>
              <a:buNone/>
              <a:defRPr>
                <a:solidFill>
                  <a:srgbClr val="8892B7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92B7"/>
              </a:buClr>
              <a:buSzPts val="2000"/>
              <a:buNone/>
              <a:defRPr>
                <a:solidFill>
                  <a:srgbClr val="8892B7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92B7"/>
              </a:buClr>
              <a:buSzPts val="2000"/>
              <a:buNone/>
              <a:defRPr>
                <a:solidFill>
                  <a:srgbClr val="8892B7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92B7"/>
              </a:buClr>
              <a:buSzPts val="2000"/>
              <a:buNone/>
              <a:defRPr>
                <a:solidFill>
                  <a:srgbClr val="8892B7"/>
                </a:solidFill>
              </a:defRPr>
            </a:lvl9pPr>
          </a:lstStyle>
          <a:p>
            <a:endParaRPr/>
          </a:p>
        </p:txBody>
      </p:sp>
      <p:sp>
        <p:nvSpPr>
          <p:cNvPr id="256" name="Google Shape;256;p74"/>
          <p:cNvSpPr txBox="1">
            <a:spLocks noGrp="1"/>
          </p:cNvSpPr>
          <p:nvPr>
            <p:ph type="dt" idx="10"/>
          </p:nvPr>
        </p:nvSpPr>
        <p:spPr>
          <a:xfrm>
            <a:off x="457200" y="6356351"/>
            <a:ext cx="2133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7" name="Google Shape;257;p74"/>
          <p:cNvSpPr txBox="1">
            <a:spLocks noGrp="1"/>
          </p:cNvSpPr>
          <p:nvPr>
            <p:ph type="ftr" idx="11"/>
          </p:nvPr>
        </p:nvSpPr>
        <p:spPr>
          <a:xfrm>
            <a:off x="3124200" y="6356351"/>
            <a:ext cx="2895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8" name="Google Shape;258;p74"/>
          <p:cNvSpPr txBox="1">
            <a:spLocks noGrp="1"/>
          </p:cNvSpPr>
          <p:nvPr>
            <p:ph type="sldNum" idx="12"/>
          </p:nvPr>
        </p:nvSpPr>
        <p:spPr>
          <a:xfrm>
            <a:off x="6553200" y="6356351"/>
            <a:ext cx="2133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, Small Pic">
  <p:cSld name="2 Column, Small Pic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75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75"/>
          <p:cNvSpPr>
            <a:spLocks noGrp="1"/>
          </p:cNvSpPr>
          <p:nvPr>
            <p:ph type="pic" idx="2"/>
          </p:nvPr>
        </p:nvSpPr>
        <p:spPr>
          <a:xfrm>
            <a:off x="4953000" y="1219200"/>
            <a:ext cx="3733800" cy="198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2" name="Google Shape;262;p75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75"/>
          <p:cNvSpPr txBox="1">
            <a:spLocks noGrp="1"/>
          </p:cNvSpPr>
          <p:nvPr>
            <p:ph type="body" idx="3"/>
          </p:nvPr>
        </p:nvSpPr>
        <p:spPr>
          <a:xfrm>
            <a:off x="4953000" y="3429000"/>
            <a:ext cx="37428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Right">
  <p:cSld name="1 Column, Tall Pic Right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76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76"/>
          <p:cNvSpPr>
            <a:spLocks noGrp="1"/>
          </p:cNvSpPr>
          <p:nvPr>
            <p:ph type="pic" idx="2"/>
          </p:nvPr>
        </p:nvSpPr>
        <p:spPr>
          <a:xfrm>
            <a:off x="6096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7" name="Google Shape;267;p76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51906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Left">
  <p:cSld name="1 Column, Tall Pic Left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77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77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1" name="Google Shape;271;p77"/>
          <p:cNvSpPr txBox="1">
            <a:spLocks noGrp="1"/>
          </p:cNvSpPr>
          <p:nvPr>
            <p:ph type="body" idx="1"/>
          </p:nvPr>
        </p:nvSpPr>
        <p:spPr>
          <a:xfrm>
            <a:off x="3505200" y="1219200"/>
            <a:ext cx="51906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 Top">
  <p:cSld name="1 Column, Wide Pic Top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78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7921800" cy="1752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4" name="Google Shape;274;p78"/>
          <p:cNvSpPr txBox="1">
            <a:spLocks noGrp="1"/>
          </p:cNvSpPr>
          <p:nvPr>
            <p:ph type="body" idx="1"/>
          </p:nvPr>
        </p:nvSpPr>
        <p:spPr>
          <a:xfrm>
            <a:off x="752888" y="3124200"/>
            <a:ext cx="7933800" cy="30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78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9338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 Bottom">
  <p:cSld name="1 Column, Wide Pic Bottom"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79"/>
          <p:cNvSpPr>
            <a:spLocks noGrp="1"/>
          </p:cNvSpPr>
          <p:nvPr>
            <p:ph type="pic" idx="2"/>
          </p:nvPr>
        </p:nvSpPr>
        <p:spPr>
          <a:xfrm>
            <a:off x="762000" y="4419600"/>
            <a:ext cx="7921800" cy="1752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8" name="Google Shape;278;p79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7933800" cy="30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p79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9338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">
  <p:cSld name="White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53"/>
          <p:cNvSpPr>
            <a:spLocks noGrp="1"/>
          </p:cNvSpPr>
          <p:nvPr>
            <p:ph type="pic" idx="2"/>
          </p:nvPr>
        </p:nvSpPr>
        <p:spPr>
          <a:xfrm>
            <a:off x="410811" y="4267200"/>
            <a:ext cx="8730845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38" name="Google Shape;38;p53"/>
          <p:cNvCxnSpPr/>
          <p:nvPr/>
        </p:nvCxnSpPr>
        <p:spPr>
          <a:xfrm>
            <a:off x="2286000" y="609913"/>
            <a:ext cx="0" cy="3473450"/>
          </a:xfrm>
          <a:prstGeom prst="straightConnector1">
            <a:avLst/>
          </a:prstGeom>
          <a:noFill/>
          <a:ln w="12700" cap="flat" cmpd="sng">
            <a:solidFill>
              <a:srgbClr val="3FAFF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9" name="Google Shape;39;p53"/>
          <p:cNvSpPr txBox="1">
            <a:spLocks noGrp="1"/>
          </p:cNvSpPr>
          <p:nvPr>
            <p:ph type="body" idx="1"/>
          </p:nvPr>
        </p:nvSpPr>
        <p:spPr>
          <a:xfrm>
            <a:off x="2514600" y="762315"/>
            <a:ext cx="6096000" cy="1371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rgbClr val="0B4596"/>
              </a:buClr>
              <a:buSzPts val="4400"/>
              <a:buFont typeface="Arial"/>
              <a:buNone/>
              <a:defRPr sz="4400" b="1" i="0" u="none" strike="noStrike" cap="none">
                <a:solidFill>
                  <a:srgbClr val="0B459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Google Shape;40;p53"/>
          <p:cNvSpPr txBox="1">
            <a:spLocks noGrp="1"/>
          </p:cNvSpPr>
          <p:nvPr>
            <p:ph type="body" idx="3"/>
          </p:nvPr>
        </p:nvSpPr>
        <p:spPr>
          <a:xfrm>
            <a:off x="762000" y="2602689"/>
            <a:ext cx="1371600" cy="956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B4596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53"/>
          <p:cNvSpPr txBox="1">
            <a:spLocks noGrp="1"/>
          </p:cNvSpPr>
          <p:nvPr>
            <p:ph type="body" idx="4"/>
          </p:nvPr>
        </p:nvSpPr>
        <p:spPr>
          <a:xfrm>
            <a:off x="775276" y="3734113"/>
            <a:ext cx="1295399" cy="19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099D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42" name="Google Shape;42;p53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3400" y="533402"/>
            <a:ext cx="1762138" cy="2133913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53"/>
          <p:cNvSpPr txBox="1">
            <a:spLocks noGrp="1"/>
          </p:cNvSpPr>
          <p:nvPr>
            <p:ph type="body" idx="5"/>
          </p:nvPr>
        </p:nvSpPr>
        <p:spPr>
          <a:xfrm>
            <a:off x="2515037" y="3316288"/>
            <a:ext cx="6092516" cy="798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Google Shape;44;p53"/>
          <p:cNvSpPr txBox="1">
            <a:spLocks noGrp="1"/>
          </p:cNvSpPr>
          <p:nvPr>
            <p:ph type="body" idx="6"/>
          </p:nvPr>
        </p:nvSpPr>
        <p:spPr>
          <a:xfrm>
            <a:off x="2515037" y="2262189"/>
            <a:ext cx="6092516" cy="938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0B0F0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00B0F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grpSp>
        <p:nvGrpSpPr>
          <p:cNvPr id="45" name="Google Shape;45;p53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46" name="Google Shape;46;p53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53"/>
            <p:cNvSpPr/>
            <p:nvPr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" name="Google Shape;48;p53" descr="C:\Users\jacqui.fenner\Desktop\PTT templates\images\noaa icons\noaa_icons-04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9" name="Google Shape;49;p53" descr="C:\Users\jacqui.fenner\Desktop\PTT templates\images\noaa icons\noaa_icons-05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0" name="Google Shape;50;p53" descr="C:\Users\jacqui.fenner\Desktop\PTT templates\images\noaa icons\noaa_icons-06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1" name="Google Shape;51;p53" descr="C:\Users\jacqui.fenner\Desktop\PTT templates\images\noaa icons\noaa_icons-07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2" name="Google Shape;52;p53" descr="C:\Users\jacqui.fenner\Desktop\PTT templates\images\noaa icons\noaa_icons-08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" name="Google Shape;53;p53" descr="C:\Users\jacqui.fenner\Desktop\PTT templates\images\noaa icons\noaa_icons-10.png">
              <a:hlinkClick r:id="rId14"/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3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55" name="Google Shape;55;p53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56" name="Google Shape;56;p53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57" name="Google Shape;57;p53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58" name="Google Shape;58;p53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59" name="Google Shape;59;p53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60" name="Google Shape;60;p53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61" name="Google Shape;61;p53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62" name="Google Shape;62;p53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80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80"/>
          <p:cNvSpPr txBox="1">
            <a:spLocks noGrp="1"/>
          </p:cNvSpPr>
          <p:nvPr>
            <p:ph type="body" idx="1"/>
          </p:nvPr>
        </p:nvSpPr>
        <p:spPr>
          <a:xfrm>
            <a:off x="762000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80"/>
          <p:cNvSpPr txBox="1">
            <a:spLocks noGrp="1"/>
          </p:cNvSpPr>
          <p:nvPr>
            <p:ph type="body" idx="2"/>
          </p:nvPr>
        </p:nvSpPr>
        <p:spPr>
          <a:xfrm>
            <a:off x="4953000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, 2 Pic">
  <p:cSld name="2 Column, 2 Pic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81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81"/>
          <p:cNvSpPr>
            <a:spLocks noGrp="1"/>
          </p:cNvSpPr>
          <p:nvPr>
            <p:ph type="pic" idx="2"/>
          </p:nvPr>
        </p:nvSpPr>
        <p:spPr>
          <a:xfrm>
            <a:off x="762001" y="1219200"/>
            <a:ext cx="37338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7" name="Google Shape;287;p81"/>
          <p:cNvSpPr>
            <a:spLocks noGrp="1"/>
          </p:cNvSpPr>
          <p:nvPr>
            <p:ph type="pic" idx="3"/>
          </p:nvPr>
        </p:nvSpPr>
        <p:spPr>
          <a:xfrm>
            <a:off x="4953000" y="1219200"/>
            <a:ext cx="37338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8" name="Google Shape;288;p81"/>
          <p:cNvSpPr txBox="1">
            <a:spLocks noGrp="1"/>
          </p:cNvSpPr>
          <p:nvPr>
            <p:ph type="body" idx="1"/>
          </p:nvPr>
        </p:nvSpPr>
        <p:spPr>
          <a:xfrm>
            <a:off x="752888" y="3048000"/>
            <a:ext cx="37428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1"/>
          <p:cNvSpPr txBox="1">
            <a:spLocks noGrp="1"/>
          </p:cNvSpPr>
          <p:nvPr>
            <p:ph type="body" idx="4"/>
          </p:nvPr>
        </p:nvSpPr>
        <p:spPr>
          <a:xfrm>
            <a:off x="4953000" y="3048000"/>
            <a:ext cx="37428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82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82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82"/>
          <p:cNvSpPr txBox="1">
            <a:spLocks noGrp="1"/>
          </p:cNvSpPr>
          <p:nvPr>
            <p:ph type="body" idx="2"/>
          </p:nvPr>
        </p:nvSpPr>
        <p:spPr>
          <a:xfrm>
            <a:off x="6248400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82"/>
          <p:cNvSpPr txBox="1">
            <a:spLocks noGrp="1"/>
          </p:cNvSpPr>
          <p:nvPr>
            <p:ph type="body" idx="3"/>
          </p:nvPr>
        </p:nvSpPr>
        <p:spPr>
          <a:xfrm>
            <a:off x="3500645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, 3 Pic">
  <p:cSld name="3 Column, 3 Pic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83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83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8" name="Google Shape;298;p83"/>
          <p:cNvSpPr>
            <a:spLocks noGrp="1"/>
          </p:cNvSpPr>
          <p:nvPr>
            <p:ph type="pic" idx="3"/>
          </p:nvPr>
        </p:nvSpPr>
        <p:spPr>
          <a:xfrm>
            <a:off x="3508162" y="1219200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9" name="Google Shape;299;p83"/>
          <p:cNvSpPr>
            <a:spLocks noGrp="1"/>
          </p:cNvSpPr>
          <p:nvPr>
            <p:ph type="pic" idx="4"/>
          </p:nvPr>
        </p:nvSpPr>
        <p:spPr>
          <a:xfrm>
            <a:off x="6251362" y="1219200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0" name="Google Shape;300;p83"/>
          <p:cNvSpPr txBox="1">
            <a:spLocks noGrp="1"/>
          </p:cNvSpPr>
          <p:nvPr>
            <p:ph type="body" idx="1"/>
          </p:nvPr>
        </p:nvSpPr>
        <p:spPr>
          <a:xfrm>
            <a:off x="752888" y="3048000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" name="Google Shape;301;p83"/>
          <p:cNvSpPr txBox="1">
            <a:spLocks noGrp="1"/>
          </p:cNvSpPr>
          <p:nvPr>
            <p:ph type="body" idx="5"/>
          </p:nvPr>
        </p:nvSpPr>
        <p:spPr>
          <a:xfrm>
            <a:off x="6248400" y="3048000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2" name="Google Shape;302;p83"/>
          <p:cNvSpPr txBox="1">
            <a:spLocks noGrp="1"/>
          </p:cNvSpPr>
          <p:nvPr>
            <p:ph type="body" idx="6"/>
          </p:nvPr>
        </p:nvSpPr>
        <p:spPr>
          <a:xfrm>
            <a:off x="3500645" y="3048000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g Pic">
  <p:cSld name="1 Lg Pic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84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p84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7924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85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7933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431800" algn="l">
              <a:lnSpc>
                <a:spcPct val="85000"/>
              </a:lnSpc>
              <a:spcBef>
                <a:spcPts val="640"/>
              </a:spcBef>
              <a:spcAft>
                <a:spcPts val="0"/>
              </a:spcAft>
              <a:buClr>
                <a:srgbClr val="000099"/>
              </a:buClr>
              <a:buSzPts val="3200"/>
              <a:buFont typeface="Arial"/>
              <a:buChar char="•"/>
              <a:defRPr b="1" i="1"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>
              <a:lnSpc>
                <a:spcPct val="85000"/>
              </a:lnSpc>
              <a:spcBef>
                <a:spcPts val="360"/>
              </a:spcBef>
              <a:spcAft>
                <a:spcPts val="0"/>
              </a:spcAft>
              <a:buClr>
                <a:srgbClr val="000099"/>
              </a:buClr>
              <a:buSzPts val="1800"/>
              <a:buFont typeface="Noto Sans Symbols"/>
              <a:buChar char="⮚"/>
              <a:defRPr sz="1800" b="0" i="1">
                <a:solidFill>
                  <a:srgbClr val="0000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>
              <a:lnSpc>
                <a:spcPct val="85000"/>
              </a:lnSpc>
              <a:spcBef>
                <a:spcPts val="320"/>
              </a:spcBef>
              <a:spcAft>
                <a:spcPts val="0"/>
              </a:spcAft>
              <a:buClr>
                <a:srgbClr val="000099"/>
              </a:buClr>
              <a:buSzPts val="1600"/>
              <a:buFont typeface="Noto Sans Symbols"/>
              <a:buChar char="❑"/>
              <a:defRPr sz="1600" b="0" i="1">
                <a:solidFill>
                  <a:srgbClr val="0000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>
              <a:lnSpc>
                <a:spcPct val="85000"/>
              </a:lnSpc>
              <a:spcBef>
                <a:spcPts val="280"/>
              </a:spcBef>
              <a:spcAft>
                <a:spcPts val="0"/>
              </a:spcAft>
              <a:buClr>
                <a:srgbClr val="000099"/>
              </a:buClr>
              <a:buSzPts val="1400"/>
              <a:buFont typeface="Courier New"/>
              <a:buChar char="o"/>
              <a:defRPr sz="1400" b="0" i="1">
                <a:solidFill>
                  <a:srgbClr val="0000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04800" algn="l">
              <a:lnSpc>
                <a:spcPct val="85000"/>
              </a:lnSpc>
              <a:spcBef>
                <a:spcPts val="240"/>
              </a:spcBef>
              <a:spcAft>
                <a:spcPts val="0"/>
              </a:spcAft>
              <a:buClr>
                <a:srgbClr val="000099"/>
              </a:buClr>
              <a:buSzPts val="1200"/>
              <a:buFont typeface="Noto Sans Symbols"/>
              <a:buChar char="❖"/>
              <a:defRPr sz="1200" b="0" i="1">
                <a:solidFill>
                  <a:srgbClr val="0000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5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99"/>
              </a:buClr>
              <a:buSzPts val="2800"/>
              <a:buFont typeface="Arial"/>
              <a:buNone/>
              <a:defRPr sz="2800" b="1" i="1">
                <a:solidFill>
                  <a:srgbClr val="000099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85"/>
          <p:cNvSpPr txBox="1">
            <a:spLocks noGrp="1"/>
          </p:cNvSpPr>
          <p:nvPr>
            <p:ph type="sldNum" idx="12"/>
          </p:nvPr>
        </p:nvSpPr>
        <p:spPr>
          <a:xfrm>
            <a:off x="8229600" y="6494463"/>
            <a:ext cx="533400" cy="22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k Blue">
  <p:cSld name="Dk Blue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86"/>
          <p:cNvSpPr/>
          <p:nvPr/>
        </p:nvSpPr>
        <p:spPr>
          <a:xfrm>
            <a:off x="410810" y="0"/>
            <a:ext cx="8733300" cy="64494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12" name="Google Shape;312;p86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313" name="Google Shape;313;p86"/>
            <p:cNvSpPr/>
            <p:nvPr/>
          </p:nvSpPr>
          <p:spPr>
            <a:xfrm>
              <a:off x="10668" y="0"/>
              <a:ext cx="420600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4" name="Google Shape;314;p86"/>
            <p:cNvSpPr/>
            <p:nvPr/>
          </p:nvSpPr>
          <p:spPr>
            <a:xfrm>
              <a:off x="16002" y="3197352"/>
              <a:ext cx="410100" cy="1069800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5" name="Google Shape;315;p86" descr="C:\Users\jacqui.fenner\Desktop\PTT templates\images\noaa icons\noaa_icons-04.png">
              <a:hlinkClick r:id="rId2"/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6" name="Google Shape;316;p86" descr="C:\Users\jacqui.fenner\Desktop\PTT templates\images\noaa icons\noaa_icons-05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7" name="Google Shape;317;p86" descr="C:\Users\jacqui.fenner\Desktop\PTT templates\images\noaa icons\noaa_icons-06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8" name="Google Shape;318;p86" descr="C:\Users\jacqui.fenner\Desktop\PTT templates\images\noaa icons\noaa_icons-07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19" name="Google Shape;319;p86" descr="C:\Users\jacqui.fenner\Desktop\PTT templates\images\noaa icons\noaa_icons-08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20" name="Google Shape;320;p86" descr="C:\Users\jacqui.fenner\Desktop\PTT templates\images\noaa icons\noaa_icons-10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1" name="Google Shape;321;p86"/>
            <p:cNvGrpSpPr/>
            <p:nvPr/>
          </p:nvGrpSpPr>
          <p:grpSpPr>
            <a:xfrm>
              <a:off x="15148" y="0"/>
              <a:ext cx="420600" cy="6858000"/>
              <a:chOff x="15148" y="0"/>
              <a:chExt cx="420600" cy="6858000"/>
            </a:xfrm>
          </p:grpSpPr>
          <p:grpSp>
            <p:nvGrpSpPr>
              <p:cNvPr id="322" name="Google Shape;322;p86"/>
              <p:cNvGrpSpPr/>
              <p:nvPr/>
            </p:nvGrpSpPr>
            <p:grpSpPr>
              <a:xfrm>
                <a:off x="15148" y="1066800"/>
                <a:ext cx="420600" cy="5334000"/>
                <a:chOff x="15148" y="1066800"/>
                <a:chExt cx="420600" cy="5334000"/>
              </a:xfrm>
            </p:grpSpPr>
            <p:cxnSp>
              <p:nvCxnSpPr>
                <p:cNvPr id="323" name="Google Shape;323;p86"/>
                <p:cNvCxnSpPr/>
                <p:nvPr/>
              </p:nvCxnSpPr>
              <p:spPr>
                <a:xfrm>
                  <a:off x="15148" y="42672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4" name="Google Shape;324;p86"/>
                <p:cNvCxnSpPr/>
                <p:nvPr/>
              </p:nvCxnSpPr>
              <p:spPr>
                <a:xfrm>
                  <a:off x="15148" y="32004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5" name="Google Shape;325;p86"/>
                <p:cNvCxnSpPr/>
                <p:nvPr/>
              </p:nvCxnSpPr>
              <p:spPr>
                <a:xfrm>
                  <a:off x="15148" y="21336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6" name="Google Shape;326;p86"/>
                <p:cNvCxnSpPr/>
                <p:nvPr/>
              </p:nvCxnSpPr>
              <p:spPr>
                <a:xfrm>
                  <a:off x="15148" y="53340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7" name="Google Shape;327;p86"/>
                <p:cNvCxnSpPr/>
                <p:nvPr/>
              </p:nvCxnSpPr>
              <p:spPr>
                <a:xfrm>
                  <a:off x="15148" y="1066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28" name="Google Shape;328;p86"/>
                <p:cNvCxnSpPr/>
                <p:nvPr/>
              </p:nvCxnSpPr>
              <p:spPr>
                <a:xfrm>
                  <a:off x="15148" y="6400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329" name="Google Shape;329;p86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sp>
        <p:nvSpPr>
          <p:cNvPr id="330" name="Google Shape;330;p86"/>
          <p:cNvSpPr txBox="1">
            <a:spLocks noGrp="1"/>
          </p:cNvSpPr>
          <p:nvPr>
            <p:ph type="title"/>
          </p:nvPr>
        </p:nvSpPr>
        <p:spPr>
          <a:xfrm>
            <a:off x="762000" y="1066800"/>
            <a:ext cx="7933800" cy="1295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4400"/>
              <a:buFont typeface="Arial"/>
              <a:buNone/>
              <a:defRPr sz="4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" name="Google Shape;331;p86"/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Google Shape;332;p86"/>
          <p:cNvSpPr txBox="1"/>
          <p:nvPr/>
        </p:nvSpPr>
        <p:spPr>
          <a:xfrm>
            <a:off x="1447800" y="6551712"/>
            <a:ext cx="7239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Department of Commerce  //  National Oceanic and Atmospheric Administration  //  </a:t>
            </a:r>
            <a:fld id="{00000000-1234-1234-1234-123412341234}" type="slidenum"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000" b="0" i="0" u="none" strike="noStrike" cap="none">
              <a:solidFill>
                <a:srgbClr val="0B45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333" name="Google Shape;333;p86" descr="G:\STALL\ST Comms\Templates &amp; Resources\Logos\Other Emblems\DOC Logo\DOC Color.png">
            <a:hlinkClick r:id="rId14"/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28601" y="6443457"/>
            <a:ext cx="371888" cy="371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334" name="Google Shape;334;p86">
            <a:hlinkClick r:id="rId16"/>
          </p:cNvPr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639828" y="6449252"/>
            <a:ext cx="360298" cy="36029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37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63" name="Google Shape;363;p37"/>
          <p:cNvSpPr txBox="1">
            <a:spLocks noGrp="1"/>
          </p:cNvSpPr>
          <p:nvPr>
            <p:ph type="ftr" idx="11"/>
          </p:nvPr>
        </p:nvSpPr>
        <p:spPr>
          <a:xfrm>
            <a:off x="1" y="6553201"/>
            <a:ext cx="80772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4" name="Google Shape;364;p37"/>
          <p:cNvSpPr txBox="1">
            <a:spLocks noGrp="1"/>
          </p:cNvSpPr>
          <p:nvPr>
            <p:ph type="sldNum" idx="12"/>
          </p:nvPr>
        </p:nvSpPr>
        <p:spPr>
          <a:xfrm>
            <a:off x="7010401" y="6553201"/>
            <a:ext cx="2133600" cy="3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, Small Pic">
  <p:cSld name="2 Column, Small Pic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p64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70" name="Google Shape;370;p64"/>
          <p:cNvSpPr>
            <a:spLocks noGrp="1"/>
          </p:cNvSpPr>
          <p:nvPr>
            <p:ph type="pic" idx="2"/>
          </p:nvPr>
        </p:nvSpPr>
        <p:spPr>
          <a:xfrm>
            <a:off x="4953000" y="1219201"/>
            <a:ext cx="3733800" cy="198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1" name="Google Shape;371;p64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2" name="Google Shape;372;p64"/>
          <p:cNvSpPr txBox="1">
            <a:spLocks noGrp="1"/>
          </p:cNvSpPr>
          <p:nvPr>
            <p:ph type="body" idx="3"/>
          </p:nvPr>
        </p:nvSpPr>
        <p:spPr>
          <a:xfrm>
            <a:off x="4953000" y="3429001"/>
            <a:ext cx="37428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Right">
  <p:cSld name="1 Column, Tall Pic Right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65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75" name="Google Shape;375;p65"/>
          <p:cNvSpPr>
            <a:spLocks noGrp="1"/>
          </p:cNvSpPr>
          <p:nvPr>
            <p:ph type="pic" idx="2"/>
          </p:nvPr>
        </p:nvSpPr>
        <p:spPr>
          <a:xfrm>
            <a:off x="6096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6" name="Google Shape;376;p65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51906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k Blue">
  <p:cSld name="Dk Blue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54"/>
          <p:cNvSpPr/>
          <p:nvPr/>
        </p:nvSpPr>
        <p:spPr>
          <a:xfrm>
            <a:off x="410811" y="2"/>
            <a:ext cx="8730845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" name="Google Shape;65;p54"/>
          <p:cNvSpPr>
            <a:spLocks noGrp="1"/>
          </p:cNvSpPr>
          <p:nvPr>
            <p:ph type="pic" idx="2"/>
          </p:nvPr>
        </p:nvSpPr>
        <p:spPr>
          <a:xfrm>
            <a:off x="412577" y="4267200"/>
            <a:ext cx="8729079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54"/>
          <p:cNvSpPr txBox="1">
            <a:spLocks noGrp="1"/>
          </p:cNvSpPr>
          <p:nvPr>
            <p:ph type="body" idx="1"/>
          </p:nvPr>
        </p:nvSpPr>
        <p:spPr>
          <a:xfrm>
            <a:off x="780334" y="2590798"/>
            <a:ext cx="1371600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D6F5FF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54"/>
          <p:cNvSpPr txBox="1">
            <a:spLocks noGrp="1"/>
          </p:cNvSpPr>
          <p:nvPr>
            <p:ph type="body" idx="3"/>
          </p:nvPr>
        </p:nvSpPr>
        <p:spPr>
          <a:xfrm>
            <a:off x="780334" y="3733802"/>
            <a:ext cx="1295400" cy="2689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D6F5FF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D6F5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None/>
              <a:defRPr sz="1800" b="1" i="0" u="none" strike="noStrike" cap="none">
                <a:solidFill>
                  <a:srgbClr val="252C3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54"/>
          <p:cNvSpPr txBox="1">
            <a:spLocks noGrp="1"/>
          </p:cNvSpPr>
          <p:nvPr>
            <p:ph type="body" idx="4"/>
          </p:nvPr>
        </p:nvSpPr>
        <p:spPr>
          <a:xfrm>
            <a:off x="2514600" y="768747"/>
            <a:ext cx="6096000" cy="1358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8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" name="Google Shape;69;p54"/>
          <p:cNvSpPr txBox="1">
            <a:spLocks noGrp="1"/>
          </p:cNvSpPr>
          <p:nvPr>
            <p:ph type="body" idx="5"/>
          </p:nvPr>
        </p:nvSpPr>
        <p:spPr>
          <a:xfrm>
            <a:off x="2515037" y="2262189"/>
            <a:ext cx="6092516" cy="938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C4EDFF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Google Shape;70;p54"/>
          <p:cNvSpPr txBox="1">
            <a:spLocks noGrp="1"/>
          </p:cNvSpPr>
          <p:nvPr>
            <p:ph type="body" idx="6"/>
          </p:nvPr>
        </p:nvSpPr>
        <p:spPr>
          <a:xfrm>
            <a:off x="2514600" y="3311239"/>
            <a:ext cx="6096000" cy="69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4EDFF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C4EDF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252C3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252C3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252C3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252C3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52C3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252C3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52C3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71" name="Google Shape;71;p54"/>
          <p:cNvCxnSpPr/>
          <p:nvPr/>
        </p:nvCxnSpPr>
        <p:spPr>
          <a:xfrm>
            <a:off x="2285999" y="609600"/>
            <a:ext cx="0" cy="3473450"/>
          </a:xfrm>
          <a:prstGeom prst="straightConnector1">
            <a:avLst/>
          </a:prstGeom>
          <a:noFill/>
          <a:ln w="12700" cap="flat" cmpd="sng">
            <a:solidFill>
              <a:srgbClr val="3FAFF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2" name="Google Shape;72;p54">
            <a:hlinkClick r:id="rId2"/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33401" y="533400"/>
            <a:ext cx="1762136" cy="213391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3" name="Google Shape;73;p54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74" name="Google Shape;74;p54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75;p54"/>
            <p:cNvSpPr/>
            <p:nvPr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" name="Google Shape;76;p54" descr="C:\Users\jacqui.fenner\Desktop\PTT templates\images\noaa icons\noaa_icons-04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7" name="Google Shape;77;p54" descr="C:\Users\jacqui.fenner\Desktop\PTT templates\images\noaa icons\noaa_icons-05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8" name="Google Shape;78;p54" descr="C:\Users\jacqui.fenner\Desktop\PTT templates\images\noaa icons\noaa_icons-06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9" name="Google Shape;79;p54" descr="C:\Users\jacqui.fenner\Desktop\PTT templates\images\noaa icons\noaa_icons-07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" name="Google Shape;80;p54" descr="C:\Users\jacqui.fenner\Desktop\PTT templates\images\noaa icons\noaa_icons-08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1" name="Google Shape;81;p54" descr="C:\Users\jacqui.fenner\Desktop\PTT templates\images\noaa icons\noaa_icons-10.png">
              <a:hlinkClick r:id="rId14"/>
            </p:cNvPr>
            <p:cNvPicPr preferRelativeResize="0"/>
            <p:nvPr/>
          </p:nvPicPr>
          <p:blipFill rotWithShape="1">
            <a:blip r:embed="rId15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" name="Google Shape;82;p54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83" name="Google Shape;83;p54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84" name="Google Shape;84;p54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85" name="Google Shape;85;p54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86" name="Google Shape;86;p54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87" name="Google Shape;87;p54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88" name="Google Shape;88;p54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89" name="Google Shape;89;p54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90" name="Google Shape;90;p54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Left">
  <p:cSld name="1 Column, Tall Pic Left"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p66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79" name="Google Shape;379;p66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0" name="Google Shape;380;p66"/>
          <p:cNvSpPr txBox="1">
            <a:spLocks noGrp="1"/>
          </p:cNvSpPr>
          <p:nvPr>
            <p:ph type="body" idx="1"/>
          </p:nvPr>
        </p:nvSpPr>
        <p:spPr>
          <a:xfrm>
            <a:off x="3505200" y="1219200"/>
            <a:ext cx="51906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 Top">
  <p:cSld name="1 Column, Wide Pic Top"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67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7921800" cy="1752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3" name="Google Shape;383;p67"/>
          <p:cNvSpPr txBox="1">
            <a:spLocks noGrp="1"/>
          </p:cNvSpPr>
          <p:nvPr>
            <p:ph type="body" idx="1"/>
          </p:nvPr>
        </p:nvSpPr>
        <p:spPr>
          <a:xfrm>
            <a:off x="752888" y="3124200"/>
            <a:ext cx="7933800" cy="30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4" name="Google Shape;384;p67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9338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 Bottom">
  <p:cSld name="1 Column, Wide Pic Bottom"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Google Shape;386;p68"/>
          <p:cNvSpPr>
            <a:spLocks noGrp="1"/>
          </p:cNvSpPr>
          <p:nvPr>
            <p:ph type="pic" idx="2"/>
          </p:nvPr>
        </p:nvSpPr>
        <p:spPr>
          <a:xfrm>
            <a:off x="762000" y="4419600"/>
            <a:ext cx="7921800" cy="1752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7" name="Google Shape;387;p68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7933800" cy="30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8" name="Google Shape;388;p68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9338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">
  <p:cSld name="2 Column">
    <p:spTree>
      <p:nvGrpSpPr>
        <p:cNvPr id="1" name="Shape 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Google Shape;390;p69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91" name="Google Shape;391;p69"/>
          <p:cNvSpPr txBox="1">
            <a:spLocks noGrp="1"/>
          </p:cNvSpPr>
          <p:nvPr>
            <p:ph type="body" idx="1"/>
          </p:nvPr>
        </p:nvSpPr>
        <p:spPr>
          <a:xfrm>
            <a:off x="762000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2" name="Google Shape;392;p69"/>
          <p:cNvSpPr txBox="1">
            <a:spLocks noGrp="1"/>
          </p:cNvSpPr>
          <p:nvPr>
            <p:ph type="body" idx="2"/>
          </p:nvPr>
        </p:nvSpPr>
        <p:spPr>
          <a:xfrm>
            <a:off x="4953000" y="1219200"/>
            <a:ext cx="3742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, 2 Pic">
  <p:cSld name="2 Column, 2 Pic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70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95" name="Google Shape;395;p70"/>
          <p:cNvSpPr>
            <a:spLocks noGrp="1"/>
          </p:cNvSpPr>
          <p:nvPr>
            <p:ph type="pic" idx="2"/>
          </p:nvPr>
        </p:nvSpPr>
        <p:spPr>
          <a:xfrm>
            <a:off x="762000" y="1219201"/>
            <a:ext cx="37338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6" name="Google Shape;396;p70"/>
          <p:cNvSpPr>
            <a:spLocks noGrp="1"/>
          </p:cNvSpPr>
          <p:nvPr>
            <p:ph type="pic" idx="3"/>
          </p:nvPr>
        </p:nvSpPr>
        <p:spPr>
          <a:xfrm>
            <a:off x="4953000" y="1219201"/>
            <a:ext cx="37338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7" name="Google Shape;397;p70"/>
          <p:cNvSpPr txBox="1">
            <a:spLocks noGrp="1"/>
          </p:cNvSpPr>
          <p:nvPr>
            <p:ph type="body" idx="1"/>
          </p:nvPr>
        </p:nvSpPr>
        <p:spPr>
          <a:xfrm>
            <a:off x="752888" y="3048001"/>
            <a:ext cx="37428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8" name="Google Shape;398;p70"/>
          <p:cNvSpPr txBox="1">
            <a:spLocks noGrp="1"/>
          </p:cNvSpPr>
          <p:nvPr>
            <p:ph type="body" idx="4"/>
          </p:nvPr>
        </p:nvSpPr>
        <p:spPr>
          <a:xfrm>
            <a:off x="4953000" y="3048001"/>
            <a:ext cx="37428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">
  <p:cSld name="3 Column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71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01" name="Google Shape;401;p71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2" name="Google Shape;402;p71"/>
          <p:cNvSpPr txBox="1">
            <a:spLocks noGrp="1"/>
          </p:cNvSpPr>
          <p:nvPr>
            <p:ph type="body" idx="2"/>
          </p:nvPr>
        </p:nvSpPr>
        <p:spPr>
          <a:xfrm>
            <a:off x="6248401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3" name="Google Shape;403;p71"/>
          <p:cNvSpPr txBox="1">
            <a:spLocks noGrp="1"/>
          </p:cNvSpPr>
          <p:nvPr>
            <p:ph type="body" idx="3"/>
          </p:nvPr>
        </p:nvSpPr>
        <p:spPr>
          <a:xfrm>
            <a:off x="3500645" y="1219200"/>
            <a:ext cx="24477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, 3 Pic">
  <p:cSld name="3 Column, 3 Pic"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72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06" name="Google Shape;406;p72"/>
          <p:cNvSpPr>
            <a:spLocks noGrp="1"/>
          </p:cNvSpPr>
          <p:nvPr>
            <p:ph type="pic" idx="2"/>
          </p:nvPr>
        </p:nvSpPr>
        <p:spPr>
          <a:xfrm>
            <a:off x="762001" y="1219201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7" name="Google Shape;407;p72"/>
          <p:cNvSpPr>
            <a:spLocks noGrp="1"/>
          </p:cNvSpPr>
          <p:nvPr>
            <p:ph type="pic" idx="3"/>
          </p:nvPr>
        </p:nvSpPr>
        <p:spPr>
          <a:xfrm>
            <a:off x="3508163" y="1219201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8" name="Google Shape;408;p72"/>
          <p:cNvSpPr>
            <a:spLocks noGrp="1"/>
          </p:cNvSpPr>
          <p:nvPr>
            <p:ph type="pic" idx="4"/>
          </p:nvPr>
        </p:nvSpPr>
        <p:spPr>
          <a:xfrm>
            <a:off x="6251363" y="1219201"/>
            <a:ext cx="2435400" cy="1600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9" name="Google Shape;409;p72"/>
          <p:cNvSpPr txBox="1">
            <a:spLocks noGrp="1"/>
          </p:cNvSpPr>
          <p:nvPr>
            <p:ph type="body" idx="1"/>
          </p:nvPr>
        </p:nvSpPr>
        <p:spPr>
          <a:xfrm>
            <a:off x="752888" y="3048001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0" name="Google Shape;410;p72"/>
          <p:cNvSpPr txBox="1">
            <a:spLocks noGrp="1"/>
          </p:cNvSpPr>
          <p:nvPr>
            <p:ph type="body" idx="5"/>
          </p:nvPr>
        </p:nvSpPr>
        <p:spPr>
          <a:xfrm>
            <a:off x="6248401" y="3048001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1" name="Google Shape;411;p72"/>
          <p:cNvSpPr txBox="1">
            <a:spLocks noGrp="1"/>
          </p:cNvSpPr>
          <p:nvPr>
            <p:ph type="body" idx="6"/>
          </p:nvPr>
        </p:nvSpPr>
        <p:spPr>
          <a:xfrm>
            <a:off x="3500645" y="3048001"/>
            <a:ext cx="2447700" cy="312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Lg Pic">
  <p:cSld name="1 Lg Pic"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Google Shape;413;p73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14" name="Google Shape;414;p73"/>
          <p:cNvSpPr>
            <a:spLocks noGrp="1"/>
          </p:cNvSpPr>
          <p:nvPr>
            <p:ph type="pic" idx="2"/>
          </p:nvPr>
        </p:nvSpPr>
        <p:spPr>
          <a:xfrm>
            <a:off x="762001" y="1219200"/>
            <a:ext cx="7924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809595-0848-40C7-9A16-B8354BC475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 err="1">
              <a:solidFill>
                <a:schemeClr val="tx1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B6E45-C41D-40EC-9F57-14FA127F1CEF}"/>
              </a:ext>
            </a:extLst>
          </p:cNvPr>
          <p:cNvSpPr/>
          <p:nvPr/>
        </p:nvSpPr>
        <p:spPr bwMode="ltGray">
          <a:xfrm>
            <a:off x="410810" y="0"/>
            <a:ext cx="8730845" cy="426719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41D363-E7B1-488D-A760-E5505D46CF3B}"/>
              </a:ext>
            </a:extLst>
          </p:cNvPr>
          <p:cNvCxnSpPr/>
          <p:nvPr/>
        </p:nvCxnSpPr>
        <p:spPr bwMode="ltGray">
          <a:xfrm>
            <a:off x="2285999" y="609600"/>
            <a:ext cx="0" cy="3473450"/>
          </a:xfrm>
          <a:prstGeom prst="lin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hlinkClick r:id="rId7"/>
            <a:extLst>
              <a:ext uri="{FF2B5EF4-FFF2-40B4-BE49-F238E27FC236}">
                <a16:creationId xmlns:a16="http://schemas.microsoft.com/office/drawing/2014/main" id="{904A95F5-9C0F-4A93-BD26-97AB03A77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33400" y="533400"/>
            <a:ext cx="1762136" cy="21339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4D7ED07-44BB-4C21-AFD7-1E535BDA751F}"/>
              </a:ext>
            </a:extLst>
          </p:cNvPr>
          <p:cNvGrpSpPr/>
          <p:nvPr/>
        </p:nvGrpSpPr>
        <p:grpSpPr bwMode="ltGray"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A80B7F8-8859-406E-9F73-1F68C7D1BF3D}"/>
                </a:ext>
              </a:extLst>
            </p:cNvPr>
            <p:cNvSpPr/>
            <p:nvPr userDrawn="1"/>
          </p:nvSpPr>
          <p:spPr bwMode="ltGray"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CA897D2-CCEE-4FF6-A644-BE84AD4628C6}"/>
                </a:ext>
              </a:extLst>
            </p:cNvPr>
            <p:cNvSpPr/>
            <p:nvPr userDrawn="1"/>
          </p:nvSpPr>
          <p:spPr bwMode="ltGray"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3" descr="C:\Users\jacqui.fenner\Desktop\PTT templates\images\noaa icons\noaa_icons-04.png">
              <a:hlinkClick r:id="rId9"/>
              <a:extLst>
                <a:ext uri="{FF2B5EF4-FFF2-40B4-BE49-F238E27FC236}">
                  <a16:creationId xmlns:a16="http://schemas.microsoft.com/office/drawing/2014/main" id="{87C62F66-477A-46B6-A881-ED350140437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4" descr="C:\Users\jacqui.fenner\Desktop\PTT templates\images\noaa icons\noaa_icons-05.png">
              <a:hlinkClick r:id="rId11"/>
              <a:extLst>
                <a:ext uri="{FF2B5EF4-FFF2-40B4-BE49-F238E27FC236}">
                  <a16:creationId xmlns:a16="http://schemas.microsoft.com/office/drawing/2014/main" id="{2A2329EF-3ABD-4257-859B-EF1A97185F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5" descr="C:\Users\jacqui.fenner\Desktop\PTT templates\images\noaa icons\noaa_icons-06.png">
              <a:hlinkClick r:id="rId13"/>
              <a:extLst>
                <a:ext uri="{FF2B5EF4-FFF2-40B4-BE49-F238E27FC236}">
                  <a16:creationId xmlns:a16="http://schemas.microsoft.com/office/drawing/2014/main" id="{6C3E48D4-D0BD-4AE9-A95C-6EE9596AE8D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6" descr="C:\Users\jacqui.fenner\Desktop\PTT templates\images\noaa icons\noaa_icons-07.png">
              <a:hlinkClick r:id="rId15"/>
              <a:extLst>
                <a:ext uri="{FF2B5EF4-FFF2-40B4-BE49-F238E27FC236}">
                  <a16:creationId xmlns:a16="http://schemas.microsoft.com/office/drawing/2014/main" id="{689D8E2A-9A2C-41A3-9366-92389BCF67C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7" descr="C:\Users\jacqui.fenner\Desktop\PTT templates\images\noaa icons\noaa_icons-08.png">
              <a:hlinkClick r:id="rId17"/>
              <a:extLst>
                <a:ext uri="{FF2B5EF4-FFF2-40B4-BE49-F238E27FC236}">
                  <a16:creationId xmlns:a16="http://schemas.microsoft.com/office/drawing/2014/main" id="{768129F4-D0C4-4572-9412-4D8138E019F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9" descr="C:\Users\jacqui.fenner\Desktop\PTT templates\images\noaa icons\noaa_icons-10.png">
              <a:hlinkClick r:id="rId19"/>
              <a:extLst>
                <a:ext uri="{FF2B5EF4-FFF2-40B4-BE49-F238E27FC236}">
                  <a16:creationId xmlns:a16="http://schemas.microsoft.com/office/drawing/2014/main" id="{894DC1DD-9054-44A5-8D41-D5870A526740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B86F2D3-170C-4F87-BFE4-1545D9ABB0C3}"/>
                </a:ext>
              </a:extLst>
            </p:cNvPr>
            <p:cNvGrpSpPr/>
            <p:nvPr userDrawn="1"/>
          </p:nvGrpSpPr>
          <p:grpSpPr bwMode="ltGray"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1A3EB9B8-383C-43B6-8617-129633ED4EAF}"/>
                  </a:ext>
                </a:extLst>
              </p:cNvPr>
              <p:cNvGrpSpPr/>
              <p:nvPr userDrawn="1"/>
            </p:nvGrpSpPr>
            <p:grpSpPr bwMode="ltGray"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433BC3F-4BFB-45C3-9729-DE3EB4C0B2CC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9D7642B6-E687-4E09-AB86-1B6694AA7B7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BCF8AECB-D3E7-4E25-B138-916AF735900A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5DA55BE-218D-4D13-9D2C-5F6432EE92DD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9E6A8B24-C8F5-4427-9520-1DD11413D2F2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8C7E5B1D-003F-42B4-A167-53ED6319DB16}"/>
                    </a:ext>
                  </a:extLst>
                </p:cNvPr>
                <p:cNvCxnSpPr/>
                <p:nvPr userDrawn="1"/>
              </p:nvCxnSpPr>
              <p:spPr bwMode="ltGray"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AD8C508A-9599-4BE2-9505-6461EA35F7BA}"/>
                  </a:ext>
                </a:extLst>
              </p:cNvPr>
              <p:cNvCxnSpPr/>
              <p:nvPr userDrawn="1"/>
            </p:nvCxnSpPr>
            <p:spPr bwMode="ltGray"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14600" y="533400"/>
            <a:ext cx="6275173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sz="4000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34520" y="2204776"/>
            <a:ext cx="6358614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x-none" sz="2000" b="1" cap="none" baseline="0" noProof="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34520" y="3568376"/>
            <a:ext cx="63586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1400" baseline="0" dirty="0">
                <a:solidFill>
                  <a:schemeClr val="bg2"/>
                </a:solidFill>
                <a:latin typeface="+mn-lt"/>
              </a:rPr>
              <a:t>Document type | Date</a:t>
            </a:r>
          </a:p>
        </p:txBody>
      </p:sp>
      <p:pic>
        <p:nvPicPr>
          <p:cNvPr id="34" name="Picture Placeholder 1">
            <a:extLst>
              <a:ext uri="{FF2B5EF4-FFF2-40B4-BE49-F238E27FC236}">
                <a16:creationId xmlns:a16="http://schemas.microsoft.com/office/drawing/2014/main" id="{1CF33D5E-7463-4736-A1F8-BEFC73ABE1F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77" b="18877"/>
          <a:stretch>
            <a:fillRect/>
          </a:stretch>
        </p:blipFill>
        <p:spPr bwMode="ltGray">
          <a:xfrm>
            <a:off x="412576" y="4267200"/>
            <a:ext cx="8729079" cy="2590800"/>
          </a:xfrm>
          <a:prstGeom prst="rect">
            <a:avLst/>
          </a:prstGeom>
        </p:spPr>
      </p:pic>
      <p:sp>
        <p:nvSpPr>
          <p:cNvPr id="35" name="StickerRectangle">
            <a:extLst>
              <a:ext uri="{FF2B5EF4-FFF2-40B4-BE49-F238E27FC236}">
                <a16:creationId xmlns:a16="http://schemas.microsoft.com/office/drawing/2014/main" id="{028E9327-F24B-4DDB-8668-D91FF151F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6187" y="8482"/>
            <a:ext cx="1389212" cy="15137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algn="r" defTabSz="913526">
              <a:buClr>
                <a:schemeClr val="tx2"/>
              </a:buClr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Pre-decisional and deliberative</a:t>
            </a:r>
          </a:p>
        </p:txBody>
      </p:sp>
    </p:spTree>
    <p:extLst>
      <p:ext uri="{BB962C8B-B14F-4D97-AF65-F5344CB8AC3E}">
        <p14:creationId xmlns:p14="http://schemas.microsoft.com/office/powerpoint/2010/main" val="7395629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tx1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auto">
          <a:xfrm>
            <a:off x="513085" y="234864"/>
            <a:ext cx="753871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10814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" type="obj">
  <p:cSld name="OBJECT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33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9" name="Google Shape;119;p33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79339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F9274B-B638-4875-BF1B-A00E291B6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D83CE6-DBF8-4E1A-BC80-9B09746A27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28420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490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2 Column, Small Pic">
  <p:cSld name="1_2 Column, Small Pic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55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55"/>
          <p:cNvSpPr>
            <a:spLocks noGrp="1"/>
          </p:cNvSpPr>
          <p:nvPr>
            <p:ph type="pic" idx="2"/>
          </p:nvPr>
        </p:nvSpPr>
        <p:spPr>
          <a:xfrm>
            <a:off x="4953000" y="1219200"/>
            <a:ext cx="3733800" cy="198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55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37429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  <p:sp>
        <p:nvSpPr>
          <p:cNvPr id="136" name="Google Shape;136;p55"/>
          <p:cNvSpPr txBox="1">
            <a:spLocks noGrp="1"/>
          </p:cNvSpPr>
          <p:nvPr>
            <p:ph type="body" idx="3"/>
          </p:nvPr>
        </p:nvSpPr>
        <p:spPr>
          <a:xfrm>
            <a:off x="4953000" y="3429000"/>
            <a:ext cx="3742912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Char char="•"/>
              <a:defRPr sz="2800" b="0">
                <a:solidFill>
                  <a:srgbClr val="07336F"/>
                </a:solidFill>
              </a:defRPr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SzPts val="2800"/>
              <a:buChar char="•"/>
              <a:defRPr sz="2400">
                <a:solidFill>
                  <a:srgbClr val="07336F"/>
                </a:solidFill>
              </a:defRPr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Char char="•"/>
              <a:defRPr sz="2000">
                <a:solidFill>
                  <a:srgbClr val="07336F"/>
                </a:solidFill>
              </a:defRPr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 sz="1800">
                <a:solidFill>
                  <a:srgbClr val="07336F"/>
                </a:solidFill>
              </a:defRPr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SzPts val="1800"/>
              <a:buChar char="•"/>
              <a:defRPr sz="1600">
                <a:solidFill>
                  <a:srgbClr val="07336F"/>
                </a:solidFill>
              </a:defRPr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SzPts val="1600"/>
              <a:buChar char="•"/>
              <a:defRPr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SzPts val="20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t Blue">
  <p:cSld name="Lt Blue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56"/>
          <p:cNvSpPr/>
          <p:nvPr/>
        </p:nvSpPr>
        <p:spPr>
          <a:xfrm>
            <a:off x="410811" y="0"/>
            <a:ext cx="8733190" cy="6449252"/>
          </a:xfrm>
          <a:prstGeom prst="rect">
            <a:avLst/>
          </a:prstGeom>
          <a:solidFill>
            <a:srgbClr val="77AEF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9" name="Google Shape;139;p56"/>
          <p:cNvGrpSpPr/>
          <p:nvPr/>
        </p:nvGrpSpPr>
        <p:grpSpPr>
          <a:xfrm>
            <a:off x="-30388" y="-3048"/>
            <a:ext cx="472440" cy="6861048"/>
            <a:chOff x="-15240" y="-3048"/>
            <a:chExt cx="472440" cy="6861048"/>
          </a:xfrm>
        </p:grpSpPr>
        <p:sp>
          <p:nvSpPr>
            <p:cNvPr id="140" name="Google Shape;140;p56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41;p56"/>
            <p:cNvSpPr/>
            <p:nvPr/>
          </p:nvSpPr>
          <p:spPr>
            <a:xfrm>
              <a:off x="16002" y="-3048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2" name="Google Shape;142;p56" descr="C:\Users\jacqui.fenner\Desktop\PTT templates\images\noaa icons\noaa_icons-04.png">
              <a:hlinkClick r:id="rId2"/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3" name="Google Shape;143;p56" descr="C:\Users\jacqui.fenner\Desktop\PTT templates\images\noaa icons\noaa_icons-05.png">
              <a:hlinkClick r:id="rId4"/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4" name="Google Shape;144;p56" descr="C:\Users\jacqui.fenner\Desktop\PTT templates\images\noaa icons\noaa_icons-06.png">
              <a:hlinkClick r:id="rId6"/>
            </p:cNvPr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5" name="Google Shape;145;p56" descr="C:\Users\jacqui.fenner\Desktop\PTT templates\images\noaa icons\noaa_icons-07.png">
              <a:hlinkClick r:id="rId8"/>
            </p:cNvPr>
            <p:cNvPicPr preferRelativeResize="0"/>
            <p:nvPr/>
          </p:nvPicPr>
          <p:blipFill rotWithShape="1">
            <a:blip r:embed="rId9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6" name="Google Shape;146;p56" descr="C:\Users\jacqui.fenner\Desktop\PTT templates\images\noaa icons\noaa_icons-08.png">
              <a:hlinkClick r:id="rId10"/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7" name="Google Shape;147;p56" descr="C:\Users\jacqui.fenner\Desktop\PTT templates\images\noaa icons\noaa_icons-10.png">
              <a:hlinkClick r:id="rId12"/>
            </p:cNvPr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" name="Google Shape;148;p56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149" name="Google Shape;149;p56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150" name="Google Shape;150;p56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51" name="Google Shape;151;p56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52" name="Google Shape;152;p56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53" name="Google Shape;153;p56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54" name="Google Shape;154;p56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55" name="Google Shape;155;p56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156" name="Google Shape;156;p56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sp>
        <p:nvSpPr>
          <p:cNvPr id="157" name="Google Shape;157;p56"/>
          <p:cNvSpPr txBox="1">
            <a:spLocks noGrp="1"/>
          </p:cNvSpPr>
          <p:nvPr>
            <p:ph type="title"/>
          </p:nvPr>
        </p:nvSpPr>
        <p:spPr>
          <a:xfrm>
            <a:off x="762001" y="1066801"/>
            <a:ext cx="7894573" cy="12954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 sz="4400">
                <a:solidFill>
                  <a:srgbClr val="0B459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" name="Google Shape;158;p56"/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9" name="Google Shape;159;p56" descr="G:\STALL\ST Comms\Templates &amp; Resources\Logos\Other Emblems\DOC Logo\DOC Color.png">
            <a:hlinkClick r:id="rId14"/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28601" y="6443457"/>
            <a:ext cx="371888" cy="371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" name="Google Shape;160;p56">
            <a:hlinkClick r:id="rId16"/>
          </p:cNvPr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639828" y="6449252"/>
            <a:ext cx="360298" cy="360298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56"/>
          <p:cNvSpPr txBox="1"/>
          <p:nvPr/>
        </p:nvSpPr>
        <p:spPr>
          <a:xfrm>
            <a:off x="1447800" y="6551712"/>
            <a:ext cx="7239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Department of Commerce  //  National Oceanic and Atmospheric Administration  //  </a:t>
            </a:r>
            <a:fld id="{00000000-1234-1234-1234-123412341234}" type="slidenum"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000" b="0" i="0" u="none" strike="noStrike" cap="none">
              <a:solidFill>
                <a:srgbClr val="0B45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, Small Pic">
  <p:cSld name="2 Column, Small Pic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58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8" name="Google Shape;168;p58"/>
          <p:cNvSpPr>
            <a:spLocks noGrp="1"/>
          </p:cNvSpPr>
          <p:nvPr>
            <p:ph type="pic" idx="2"/>
          </p:nvPr>
        </p:nvSpPr>
        <p:spPr>
          <a:xfrm>
            <a:off x="4953000" y="1219200"/>
            <a:ext cx="3733800" cy="1981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9" name="Google Shape;169;p58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37429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0" name="Google Shape;170;p58"/>
          <p:cNvSpPr txBox="1">
            <a:spLocks noGrp="1"/>
          </p:cNvSpPr>
          <p:nvPr>
            <p:ph type="body" idx="3"/>
          </p:nvPr>
        </p:nvSpPr>
        <p:spPr>
          <a:xfrm>
            <a:off x="4953000" y="3429000"/>
            <a:ext cx="3742912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Right">
  <p:cSld name="1 Column, Tall Pic Right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59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3" name="Google Shape;173;p59"/>
          <p:cNvSpPr>
            <a:spLocks noGrp="1"/>
          </p:cNvSpPr>
          <p:nvPr>
            <p:ph type="pic" idx="2"/>
          </p:nvPr>
        </p:nvSpPr>
        <p:spPr>
          <a:xfrm>
            <a:off x="6096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4" name="Google Shape;174;p59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51907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 Left">
  <p:cSld name="1 Column, Tall Pic Left"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60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7" name="Google Shape;177;p60"/>
          <p:cNvSpPr>
            <a:spLocks noGrp="1"/>
          </p:cNvSpPr>
          <p:nvPr>
            <p:ph type="pic" idx="2"/>
          </p:nvPr>
        </p:nvSpPr>
        <p:spPr>
          <a:xfrm>
            <a:off x="762000" y="1219200"/>
            <a:ext cx="2590800" cy="4953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F7F7F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8" name="Google Shape;178;p60"/>
          <p:cNvSpPr txBox="1">
            <a:spLocks noGrp="1"/>
          </p:cNvSpPr>
          <p:nvPr>
            <p:ph type="body" idx="1"/>
          </p:nvPr>
        </p:nvSpPr>
        <p:spPr>
          <a:xfrm>
            <a:off x="3505200" y="1219200"/>
            <a:ext cx="51907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hyperlink" Target="http://www.noaa.gov/research" TargetMode="External"/><Relationship Id="rId18" Type="http://schemas.openxmlformats.org/officeDocument/2006/relationships/image" Target="../media/image5.png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6.xml"/><Relationship Id="rId21" Type="http://schemas.openxmlformats.org/officeDocument/2006/relationships/hyperlink" Target="http://www.noaa.gov/weather" TargetMode="Externa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17" Type="http://schemas.openxmlformats.org/officeDocument/2006/relationships/hyperlink" Target="http://www.noaa.gov/fisheries" TargetMode="External"/><Relationship Id="rId25" Type="http://schemas.openxmlformats.org/officeDocument/2006/relationships/hyperlink" Target="http://www.noaa.gov/" TargetMode="External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.png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hyperlink" Target="http://www.noaa.gov/marine-aviation" TargetMode="Externa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8.xml"/><Relationship Id="rId15" Type="http://schemas.openxmlformats.org/officeDocument/2006/relationships/hyperlink" Target="http://www.noaa.gov/satellites" TargetMode="External"/><Relationship Id="rId23" Type="http://schemas.openxmlformats.org/officeDocument/2006/relationships/hyperlink" Target="https://www.commerce.gov/" TargetMode="External"/><Relationship Id="rId10" Type="http://schemas.openxmlformats.org/officeDocument/2006/relationships/theme" Target="../theme/theme2.xml"/><Relationship Id="rId19" Type="http://schemas.openxmlformats.org/officeDocument/2006/relationships/hyperlink" Target="http://www.noaa.gov/oceans-coasts" TargetMode="Externa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png"/><Relationship Id="rId22" Type="http://schemas.openxmlformats.org/officeDocument/2006/relationships/image" Target="../media/image7.png"/><Relationship Id="rId27" Type="http://schemas.openxmlformats.org/officeDocument/2006/relationships/image" Target="../media/image11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hyperlink" Target="http://www.noaa.gov/research" TargetMode="External"/><Relationship Id="rId26" Type="http://schemas.openxmlformats.org/officeDocument/2006/relationships/hyperlink" Target="http://www.noaa.gov/weather" TargetMode="Externa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png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4.xml"/><Relationship Id="rId16" Type="http://schemas.openxmlformats.org/officeDocument/2006/relationships/hyperlink" Target="http://www.noaa.gov/marine-aviation" TargetMode="External"/><Relationship Id="rId20" Type="http://schemas.openxmlformats.org/officeDocument/2006/relationships/hyperlink" Target="http://www.noaa.gov/satellites" TargetMode="External"/><Relationship Id="rId29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hyperlink" Target="http://www.noaa.gov/oceans-coasts" TargetMode="External"/><Relationship Id="rId32" Type="http://schemas.openxmlformats.org/officeDocument/2006/relationships/image" Target="../media/image11.jpg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3.xml"/><Relationship Id="rId23" Type="http://schemas.openxmlformats.org/officeDocument/2006/relationships/image" Target="../media/image5.png"/><Relationship Id="rId28" Type="http://schemas.openxmlformats.org/officeDocument/2006/relationships/hyperlink" Target="https://www.commerce.gov/" TargetMode="Externa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png"/><Relationship Id="rId31" Type="http://schemas.openxmlformats.org/officeDocument/2006/relationships/image" Target="../media/image10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hyperlink" Target="http://www.noaa.gov/fisheries" TargetMode="External"/><Relationship Id="rId27" Type="http://schemas.openxmlformats.org/officeDocument/2006/relationships/image" Target="../media/image7.png"/><Relationship Id="rId30" Type="http://schemas.openxmlformats.org/officeDocument/2006/relationships/hyperlink" Target="http://www.noaa.gov/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hyperlink" Target="http://www.noaa.gov/marine-aviation" TargetMode="External"/><Relationship Id="rId18" Type="http://schemas.openxmlformats.org/officeDocument/2006/relationships/image" Target="../media/image4.png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29.xml"/><Relationship Id="rId21" Type="http://schemas.openxmlformats.org/officeDocument/2006/relationships/hyperlink" Target="http://www.noaa.gov/oceans-coasts" TargetMode="Externa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hyperlink" Target="http://www.noaa.gov/satellites" TargetMode="External"/><Relationship Id="rId25" Type="http://schemas.openxmlformats.org/officeDocument/2006/relationships/hyperlink" Target="https://www.commerce.gov/" TargetMode="Externa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3.png"/><Relationship Id="rId20" Type="http://schemas.openxmlformats.org/officeDocument/2006/relationships/image" Target="../media/image5.png"/><Relationship Id="rId29" Type="http://schemas.openxmlformats.org/officeDocument/2006/relationships/image" Target="../media/image11.jp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31.xml"/><Relationship Id="rId15" Type="http://schemas.openxmlformats.org/officeDocument/2006/relationships/hyperlink" Target="http://www.noaa.gov/research" TargetMode="External"/><Relationship Id="rId23" Type="http://schemas.openxmlformats.org/officeDocument/2006/relationships/hyperlink" Target="http://www.noaa.gov/weather" TargetMode="External"/><Relationship Id="rId28" Type="http://schemas.openxmlformats.org/officeDocument/2006/relationships/image" Target="../media/image10.png"/><Relationship Id="rId10" Type="http://schemas.openxmlformats.org/officeDocument/2006/relationships/slideLayout" Target="../slideLayouts/slideLayout36.xml"/><Relationship Id="rId19" Type="http://schemas.openxmlformats.org/officeDocument/2006/relationships/hyperlink" Target="http://www.noaa.gov/fisheries" TargetMode="Externa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2.png"/><Relationship Id="rId22" Type="http://schemas.openxmlformats.org/officeDocument/2006/relationships/image" Target="../media/image6.png"/><Relationship Id="rId27" Type="http://schemas.openxmlformats.org/officeDocument/2006/relationships/hyperlink" Target="http://www.noaa.gov/" TargetMode="Externa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hyperlink" Target="http://www.noaa.gov/satellites" TargetMode="External"/><Relationship Id="rId21" Type="http://schemas.openxmlformats.org/officeDocument/2006/relationships/tags" Target="../tags/tag15.xml"/><Relationship Id="rId34" Type="http://schemas.openxmlformats.org/officeDocument/2006/relationships/image" Target="../media/image12.emf"/><Relationship Id="rId42" Type="http://schemas.openxmlformats.org/officeDocument/2006/relationships/image" Target="../media/image5.png"/><Relationship Id="rId47" Type="http://schemas.openxmlformats.org/officeDocument/2006/relationships/hyperlink" Target="https://www.commerce.gov/" TargetMode="External"/><Relationship Id="rId50" Type="http://schemas.openxmlformats.org/officeDocument/2006/relationships/image" Target="../media/image10.png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0.xml"/><Relationship Id="rId29" Type="http://schemas.openxmlformats.org/officeDocument/2006/relationships/tags" Target="../tags/tag23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hyperlink" Target="http://www.noaa.gov/research" TargetMode="External"/><Relationship Id="rId40" Type="http://schemas.openxmlformats.org/officeDocument/2006/relationships/image" Target="../media/image4.png"/><Relationship Id="rId45" Type="http://schemas.openxmlformats.org/officeDocument/2006/relationships/hyperlink" Target="http://www.noaa.gov/weather" TargetMode="External"/><Relationship Id="rId5" Type="http://schemas.openxmlformats.org/officeDocument/2006/relationships/theme" Target="../theme/theme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image" Target="../media/image2.png"/><Relationship Id="rId49" Type="http://schemas.openxmlformats.org/officeDocument/2006/relationships/hyperlink" Target="http://www.noaa.gov/" TargetMode="Externa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4" Type="http://schemas.openxmlformats.org/officeDocument/2006/relationships/image" Target="../media/image6.png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hyperlink" Target="http://www.noaa.gov/marine-aviation" TargetMode="External"/><Relationship Id="rId43" Type="http://schemas.openxmlformats.org/officeDocument/2006/relationships/hyperlink" Target="http://www.noaa.gov/oceans-coasts" TargetMode="External"/><Relationship Id="rId48" Type="http://schemas.openxmlformats.org/officeDocument/2006/relationships/image" Target="../media/image9.png"/><Relationship Id="rId8" Type="http://schemas.openxmlformats.org/officeDocument/2006/relationships/tags" Target="../tags/tag2.xml"/><Relationship Id="rId51" Type="http://schemas.openxmlformats.org/officeDocument/2006/relationships/image" Target="../media/image11.jpg"/><Relationship Id="rId3" Type="http://schemas.openxmlformats.org/officeDocument/2006/relationships/slideLayout" Target="../slideLayouts/slideLayout40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3.png"/><Relationship Id="rId46" Type="http://schemas.openxmlformats.org/officeDocument/2006/relationships/image" Target="../media/image7.png"/><Relationship Id="rId20" Type="http://schemas.openxmlformats.org/officeDocument/2006/relationships/tags" Target="../tags/tag14.xml"/><Relationship Id="rId41" Type="http://schemas.openxmlformats.org/officeDocument/2006/relationships/hyperlink" Target="http://www.noaa.gov/fisheries" TargetMode="Externa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oogle Shape;92;p32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93" name="Google Shape;93;p32"/>
            <p:cNvSpPr/>
            <p:nvPr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94;p32"/>
            <p:cNvSpPr/>
            <p:nvPr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" name="Google Shape;95;p32" descr="C:\Users\jacqui.fenner\Desktop\PTT templates\images\noaa icons\noaa_icons-04.png">
              <a:hlinkClick r:id="rId11"/>
            </p:cNvPr>
            <p:cNvPicPr preferRelativeResize="0"/>
            <p:nvPr/>
          </p:nvPicPr>
          <p:blipFill rotWithShape="1">
            <a:blip r:embed="rId12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6" name="Google Shape;96;p32" descr="C:\Users\jacqui.fenner\Desktop\PTT templates\images\noaa icons\noaa_icons-05.png">
              <a:hlinkClick r:id="rId13"/>
            </p:cNvPr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7" name="Google Shape;97;p32" descr="C:\Users\jacqui.fenner\Desktop\PTT templates\images\noaa icons\noaa_icons-06.png">
              <a:hlinkClick r:id="rId15"/>
            </p:cNvPr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8" name="Google Shape;98;p32" descr="C:\Users\jacqui.fenner\Desktop\PTT templates\images\noaa icons\noaa_icons-07.png">
              <a:hlinkClick r:id="rId17"/>
            </p:cNvPr>
            <p:cNvPicPr preferRelativeResize="0"/>
            <p:nvPr/>
          </p:nvPicPr>
          <p:blipFill rotWithShape="1">
            <a:blip r:embed="rId18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99" name="Google Shape;99;p32" descr="C:\Users\jacqui.fenner\Desktop\PTT templates\images\noaa icons\noaa_icons-08.png">
              <a:hlinkClick r:id="rId19"/>
            </p:cNvPr>
            <p:cNvPicPr preferRelativeResize="0"/>
            <p:nvPr/>
          </p:nvPicPr>
          <p:blipFill rotWithShape="1">
            <a:blip r:embed="rId20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0" name="Google Shape;100;p32" descr="C:\Users\jacqui.fenner\Desktop\PTT templates\images\noaa icons\noaa_icons-10.png">
              <a:hlinkClick r:id="rId21"/>
            </p:cNvPr>
            <p:cNvPicPr preferRelativeResize="0"/>
            <p:nvPr/>
          </p:nvPicPr>
          <p:blipFill rotWithShape="1">
            <a:blip r:embed="rId22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" name="Google Shape;101;p32"/>
            <p:cNvGrpSpPr/>
            <p:nvPr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102" name="Google Shape;102;p32"/>
              <p:cNvGrpSpPr/>
              <p:nvPr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103" name="Google Shape;103;p32"/>
                <p:cNvCxnSpPr/>
                <p:nvPr/>
              </p:nvCxnSpPr>
              <p:spPr>
                <a:xfrm>
                  <a:off x="15148" y="42672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04" name="Google Shape;104;p32"/>
                <p:cNvCxnSpPr/>
                <p:nvPr/>
              </p:nvCxnSpPr>
              <p:spPr>
                <a:xfrm>
                  <a:off x="15148" y="32004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05" name="Google Shape;105;p32"/>
                <p:cNvCxnSpPr/>
                <p:nvPr/>
              </p:nvCxnSpPr>
              <p:spPr>
                <a:xfrm>
                  <a:off x="15148" y="21336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06" name="Google Shape;106;p32"/>
                <p:cNvCxnSpPr/>
                <p:nvPr/>
              </p:nvCxnSpPr>
              <p:spPr>
                <a:xfrm>
                  <a:off x="15148" y="53340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07" name="Google Shape;107;p32"/>
                <p:cNvCxnSpPr/>
                <p:nvPr/>
              </p:nvCxnSpPr>
              <p:spPr>
                <a:xfrm>
                  <a:off x="15148" y="1066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108" name="Google Shape;108;p32"/>
                <p:cNvCxnSpPr/>
                <p:nvPr/>
              </p:nvCxnSpPr>
              <p:spPr>
                <a:xfrm>
                  <a:off x="15148" y="6400800"/>
                  <a:ext cx="420624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109" name="Google Shape;109;p32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sp>
        <p:nvSpPr>
          <p:cNvPr id="110" name="Google Shape;110;p32"/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32"/>
          <p:cNvSpPr txBox="1">
            <a:spLocks noGrp="1"/>
          </p:cNvSpPr>
          <p:nvPr>
            <p:ph type="title"/>
          </p:nvPr>
        </p:nvSpPr>
        <p:spPr>
          <a:xfrm>
            <a:off x="752889" y="274638"/>
            <a:ext cx="7400512" cy="792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" name="Google Shape;112;p32"/>
          <p:cNvSpPr txBox="1">
            <a:spLocks noGrp="1"/>
          </p:cNvSpPr>
          <p:nvPr>
            <p:ph type="body" idx="1"/>
          </p:nvPr>
        </p:nvSpPr>
        <p:spPr>
          <a:xfrm>
            <a:off x="752889" y="1219200"/>
            <a:ext cx="7933912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13" name="Google Shape;113;p32" descr="G:\STALL\ST Comms\Templates &amp; Resources\Logos\Other Emblems\DOC Logo\DOC Color.png">
            <a:hlinkClick r:id="rId23"/>
          </p:cNvPr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228601" y="6443457"/>
            <a:ext cx="371888" cy="371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14;p32">
            <a:hlinkClick r:id="rId25"/>
          </p:cNvPr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639828" y="6449252"/>
            <a:ext cx="360298" cy="360298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32"/>
          <p:cNvSpPr txBox="1"/>
          <p:nvPr/>
        </p:nvSpPr>
        <p:spPr>
          <a:xfrm>
            <a:off x="1447800" y="6551712"/>
            <a:ext cx="7239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Department of Commerce  //  National Oceanic and Atmospheric Administration  //  </a:t>
            </a:r>
            <a:fld id="{00000000-1234-1234-1234-123412341234}" type="slidenum"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000" b="0" i="0" u="none" strike="noStrike" cap="none">
              <a:solidFill>
                <a:srgbClr val="0B45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116" name="Google Shape;116;p32">
            <a:hlinkClick r:id="rId15"/>
          </p:cNvPr>
          <p:cNvPicPr preferRelativeResize="0"/>
          <p:nvPr/>
        </p:nvPicPr>
        <p:blipFill rotWithShape="1">
          <a:blip r:embed="rId27">
            <a:alphaModFix/>
          </a:blip>
          <a:srcRect/>
          <a:stretch/>
        </p:blipFill>
        <p:spPr>
          <a:xfrm>
            <a:off x="8229600" y="152400"/>
            <a:ext cx="762000" cy="762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7" name="Google Shape;197;p34"/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198" name="Google Shape;198;p34"/>
            <p:cNvSpPr/>
            <p:nvPr/>
          </p:nvSpPr>
          <p:spPr>
            <a:xfrm>
              <a:off x="10668" y="0"/>
              <a:ext cx="420600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34"/>
            <p:cNvSpPr/>
            <p:nvPr/>
          </p:nvSpPr>
          <p:spPr>
            <a:xfrm>
              <a:off x="16002" y="3197352"/>
              <a:ext cx="410100" cy="1069800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0" name="Google Shape;200;p34" descr="C:\Users\jacqui.fenner\Desktop\PTT templates\images\noaa icons\noaa_icons-04.png">
              <a:hlinkClick r:id="rId16"/>
            </p:cNvPr>
            <p:cNvPicPr preferRelativeResize="0"/>
            <p:nvPr/>
          </p:nvPicPr>
          <p:blipFill rotWithShape="1">
            <a:blip r:embed="rId17">
              <a:alphaModFix/>
            </a:blip>
            <a:srcRect/>
            <a:stretch/>
          </p:blipFill>
          <p:spPr>
            <a:xfrm>
              <a:off x="-15240" y="5714999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1" name="Google Shape;201;p34" descr="C:\Users\jacqui.fenner\Desktop\PTT templates\images\noaa icons\noaa_icons-05.png">
              <a:hlinkClick r:id="rId18"/>
            </p:cNvPr>
            <p:cNvPicPr preferRelativeResize="0"/>
            <p:nvPr/>
          </p:nvPicPr>
          <p:blipFill rotWithShape="1">
            <a:blip r:embed="rId19">
              <a:alphaModFix/>
            </a:blip>
            <a:srcRect/>
            <a:stretch/>
          </p:blipFill>
          <p:spPr>
            <a:xfrm>
              <a:off x="-15240" y="46482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2" name="Google Shape;202;p34" descr="C:\Users\jacqui.fenner\Desktop\PTT templates\images\noaa icons\noaa_icons-06.png">
              <a:hlinkClick r:id="rId20"/>
            </p:cNvPr>
            <p:cNvPicPr preferRelativeResize="0"/>
            <p:nvPr/>
          </p:nvPicPr>
          <p:blipFill rotWithShape="1">
            <a:blip r:embed="rId21">
              <a:alphaModFix/>
            </a:blip>
            <a:srcRect/>
            <a:stretch/>
          </p:blipFill>
          <p:spPr>
            <a:xfrm>
              <a:off x="-15240" y="35814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3" name="Google Shape;203;p34" descr="C:\Users\jacqui.fenner\Desktop\PTT templates\images\noaa icons\noaa_icons-07.png">
              <a:hlinkClick r:id="rId22"/>
            </p:cNvPr>
            <p:cNvPicPr preferRelativeResize="0"/>
            <p:nvPr/>
          </p:nvPicPr>
          <p:blipFill rotWithShape="1">
            <a:blip r:embed="rId23">
              <a:alphaModFix/>
            </a:blip>
            <a:srcRect/>
            <a:stretch/>
          </p:blipFill>
          <p:spPr>
            <a:xfrm>
              <a:off x="-15240" y="25146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4" name="Google Shape;204;p34" descr="C:\Users\jacqui.fenner\Desktop\PTT templates\images\noaa icons\noaa_icons-08.png">
              <a:hlinkClick r:id="rId24"/>
            </p:cNvPr>
            <p:cNvPicPr preferRelativeResize="0"/>
            <p:nvPr/>
          </p:nvPicPr>
          <p:blipFill rotWithShape="1">
            <a:blip r:embed="rId25">
              <a:alphaModFix/>
            </a:blip>
            <a:srcRect/>
            <a:stretch/>
          </p:blipFill>
          <p:spPr>
            <a:xfrm>
              <a:off x="-15240" y="14478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5" name="Google Shape;205;p34" descr="C:\Users\jacqui.fenner\Desktop\PTT templates\images\noaa icons\noaa_icons-10.png">
              <a:hlinkClick r:id="rId26"/>
            </p:cNvPr>
            <p:cNvPicPr preferRelativeResize="0"/>
            <p:nvPr/>
          </p:nvPicPr>
          <p:blipFill rotWithShape="1">
            <a:blip r:embed="rId27">
              <a:alphaModFix/>
            </a:blip>
            <a:srcRect/>
            <a:stretch/>
          </p:blipFill>
          <p:spPr>
            <a:xfrm>
              <a:off x="-15240" y="381000"/>
              <a:ext cx="472440" cy="32400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6" name="Google Shape;206;p34"/>
            <p:cNvGrpSpPr/>
            <p:nvPr/>
          </p:nvGrpSpPr>
          <p:grpSpPr>
            <a:xfrm>
              <a:off x="15148" y="0"/>
              <a:ext cx="420600" cy="6858000"/>
              <a:chOff x="15148" y="0"/>
              <a:chExt cx="420600" cy="6858000"/>
            </a:xfrm>
          </p:grpSpPr>
          <p:grpSp>
            <p:nvGrpSpPr>
              <p:cNvPr id="207" name="Google Shape;207;p34"/>
              <p:cNvGrpSpPr/>
              <p:nvPr/>
            </p:nvGrpSpPr>
            <p:grpSpPr>
              <a:xfrm>
                <a:off x="15148" y="1066800"/>
                <a:ext cx="420600" cy="5334000"/>
                <a:chOff x="15148" y="1066800"/>
                <a:chExt cx="420600" cy="5334000"/>
              </a:xfrm>
            </p:grpSpPr>
            <p:cxnSp>
              <p:nvCxnSpPr>
                <p:cNvPr id="208" name="Google Shape;208;p34"/>
                <p:cNvCxnSpPr/>
                <p:nvPr/>
              </p:nvCxnSpPr>
              <p:spPr>
                <a:xfrm>
                  <a:off x="15148" y="42672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09" name="Google Shape;209;p34"/>
                <p:cNvCxnSpPr/>
                <p:nvPr/>
              </p:nvCxnSpPr>
              <p:spPr>
                <a:xfrm>
                  <a:off x="15148" y="32004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10" name="Google Shape;210;p34"/>
                <p:cNvCxnSpPr/>
                <p:nvPr/>
              </p:nvCxnSpPr>
              <p:spPr>
                <a:xfrm>
                  <a:off x="15148" y="21336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11" name="Google Shape;211;p34"/>
                <p:cNvCxnSpPr/>
                <p:nvPr/>
              </p:nvCxnSpPr>
              <p:spPr>
                <a:xfrm>
                  <a:off x="15148" y="53340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12" name="Google Shape;212;p34"/>
                <p:cNvCxnSpPr/>
                <p:nvPr/>
              </p:nvCxnSpPr>
              <p:spPr>
                <a:xfrm>
                  <a:off x="15148" y="1066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213" name="Google Shape;213;p34"/>
                <p:cNvCxnSpPr/>
                <p:nvPr/>
              </p:nvCxnSpPr>
              <p:spPr>
                <a:xfrm>
                  <a:off x="15148" y="6400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214" name="Google Shape;214;p34"/>
              <p:cNvCxnSpPr/>
              <p:nvPr/>
            </p:nvCxnSpPr>
            <p:spPr>
              <a:xfrm>
                <a:off x="431292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sp>
        <p:nvSpPr>
          <p:cNvPr id="215" name="Google Shape;215;p34"/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34"/>
          <p:cNvSpPr txBox="1">
            <a:spLocks noGrp="1"/>
          </p:cNvSpPr>
          <p:nvPr>
            <p:ph type="title"/>
          </p:nvPr>
        </p:nvSpPr>
        <p:spPr>
          <a:xfrm>
            <a:off x="752888" y="274638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7" name="Google Shape;217;p34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7933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218" name="Google Shape;218;p34" descr="G:\STALL\ST Comms\Templates &amp; Resources\Logos\Other Emblems\DOC Logo\DOC Color.png">
            <a:hlinkClick r:id="rId28"/>
          </p:cNvPr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228601" y="6443457"/>
            <a:ext cx="371888" cy="3718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9" name="Google Shape;219;p34">
            <a:hlinkClick r:id="rId30"/>
          </p:cNvPr>
          <p:cNvPicPr preferRelativeResize="0"/>
          <p:nvPr/>
        </p:nvPicPr>
        <p:blipFill rotWithShape="1">
          <a:blip r:embed="rId31">
            <a:alphaModFix/>
          </a:blip>
          <a:srcRect/>
          <a:stretch/>
        </p:blipFill>
        <p:spPr>
          <a:xfrm>
            <a:off x="639828" y="6449252"/>
            <a:ext cx="360298" cy="360298"/>
          </a:xfrm>
          <a:prstGeom prst="rect">
            <a:avLst/>
          </a:prstGeom>
          <a:noFill/>
          <a:ln>
            <a:noFill/>
          </a:ln>
        </p:spPr>
      </p:pic>
      <p:sp>
        <p:nvSpPr>
          <p:cNvPr id="220" name="Google Shape;220;p34"/>
          <p:cNvSpPr txBox="1"/>
          <p:nvPr/>
        </p:nvSpPr>
        <p:spPr>
          <a:xfrm>
            <a:off x="1447800" y="6551712"/>
            <a:ext cx="7239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Department of Commerce  //  National Oceanic and Atmospheric Administration  //  </a:t>
            </a:r>
            <a:fld id="{00000000-1234-1234-1234-123412341234}" type="slidenum"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000" b="0" i="0" u="none" strike="noStrike" cap="none">
              <a:solidFill>
                <a:srgbClr val="0B45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221" name="Google Shape;221;p34">
            <a:hlinkClick r:id="rId20"/>
          </p:cNvPr>
          <p:cNvPicPr preferRelativeResize="0"/>
          <p:nvPr/>
        </p:nvPicPr>
        <p:blipFill rotWithShape="1">
          <a:blip r:embed="rId32">
            <a:alphaModFix/>
          </a:blip>
          <a:srcRect/>
          <a:stretch/>
        </p:blipFill>
        <p:spPr>
          <a:xfrm>
            <a:off x="8229600" y="152400"/>
            <a:ext cx="762000" cy="762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" name="Google Shape;336;p36"/>
          <p:cNvGrpSpPr/>
          <p:nvPr/>
        </p:nvGrpSpPr>
        <p:grpSpPr>
          <a:xfrm>
            <a:off x="-30387" y="0"/>
            <a:ext cx="472440" cy="6858000"/>
            <a:chOff x="-15239" y="0"/>
            <a:chExt cx="472440" cy="6858000"/>
          </a:xfrm>
        </p:grpSpPr>
        <p:sp>
          <p:nvSpPr>
            <p:cNvPr id="337" name="Google Shape;337;p36"/>
            <p:cNvSpPr/>
            <p:nvPr/>
          </p:nvSpPr>
          <p:spPr>
            <a:xfrm>
              <a:off x="10668" y="0"/>
              <a:ext cx="420600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8" name="Google Shape;338;p36"/>
            <p:cNvSpPr/>
            <p:nvPr/>
          </p:nvSpPr>
          <p:spPr>
            <a:xfrm>
              <a:off x="16002" y="3197351"/>
              <a:ext cx="410100" cy="1069800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9" name="Google Shape;339;p36" descr="C:\Users\jacqui.fenner\Desktop\PTT templates\images\noaa icons\noaa_icons-04.png">
              <a:hlinkClick r:id="rId13"/>
            </p:cNvPr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-15239" y="5714998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40" name="Google Shape;340;p36" descr="C:\Users\jacqui.fenner\Desktop\PTT templates\images\noaa icons\noaa_icons-05.png">
              <a:hlinkClick r:id="rId15"/>
            </p:cNvPr>
            <p:cNvPicPr preferRelativeResize="0"/>
            <p:nvPr/>
          </p:nvPicPr>
          <p:blipFill rotWithShape="1">
            <a:blip r:embed="rId16">
              <a:alphaModFix/>
            </a:blip>
            <a:srcRect/>
            <a:stretch/>
          </p:blipFill>
          <p:spPr>
            <a:xfrm>
              <a:off x="-15239" y="4648200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41" name="Google Shape;341;p36" descr="C:\Users\jacqui.fenner\Desktop\PTT templates\images\noaa icons\noaa_icons-06.png">
              <a:hlinkClick r:id="rId17"/>
            </p:cNvPr>
            <p:cNvPicPr preferRelativeResize="0"/>
            <p:nvPr/>
          </p:nvPicPr>
          <p:blipFill rotWithShape="1">
            <a:blip r:embed="rId18">
              <a:alphaModFix/>
            </a:blip>
            <a:srcRect/>
            <a:stretch/>
          </p:blipFill>
          <p:spPr>
            <a:xfrm>
              <a:off x="-15239" y="3581400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42" name="Google Shape;342;p36" descr="C:\Users\jacqui.fenner\Desktop\PTT templates\images\noaa icons\noaa_icons-07.png">
              <a:hlinkClick r:id="rId19"/>
            </p:cNvPr>
            <p:cNvPicPr preferRelativeResize="0"/>
            <p:nvPr/>
          </p:nvPicPr>
          <p:blipFill rotWithShape="1">
            <a:blip r:embed="rId20">
              <a:alphaModFix/>
            </a:blip>
            <a:srcRect/>
            <a:stretch/>
          </p:blipFill>
          <p:spPr>
            <a:xfrm>
              <a:off x="-15239" y="2514600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43" name="Google Shape;343;p36" descr="C:\Users\jacqui.fenner\Desktop\PTT templates\images\noaa icons\noaa_icons-08.png">
              <a:hlinkClick r:id="rId21"/>
            </p:cNvPr>
            <p:cNvPicPr preferRelativeResize="0"/>
            <p:nvPr/>
          </p:nvPicPr>
          <p:blipFill rotWithShape="1">
            <a:blip r:embed="rId22">
              <a:alphaModFix/>
            </a:blip>
            <a:srcRect/>
            <a:stretch/>
          </p:blipFill>
          <p:spPr>
            <a:xfrm>
              <a:off x="-15239" y="1447800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44" name="Google Shape;344;p36" descr="C:\Users\jacqui.fenner\Desktop\PTT templates\images\noaa icons\noaa_icons-10.png">
              <a:hlinkClick r:id="rId23"/>
            </p:cNvPr>
            <p:cNvPicPr preferRelativeResize="0"/>
            <p:nvPr/>
          </p:nvPicPr>
          <p:blipFill rotWithShape="1">
            <a:blip r:embed="rId24">
              <a:alphaModFix/>
            </a:blip>
            <a:srcRect/>
            <a:stretch/>
          </p:blipFill>
          <p:spPr>
            <a:xfrm>
              <a:off x="-15239" y="381000"/>
              <a:ext cx="472440" cy="32400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" name="Google Shape;345;p36"/>
            <p:cNvGrpSpPr/>
            <p:nvPr/>
          </p:nvGrpSpPr>
          <p:grpSpPr>
            <a:xfrm>
              <a:off x="15147" y="0"/>
              <a:ext cx="420600" cy="6858000"/>
              <a:chOff x="15147" y="0"/>
              <a:chExt cx="420600" cy="6858000"/>
            </a:xfrm>
          </p:grpSpPr>
          <p:grpSp>
            <p:nvGrpSpPr>
              <p:cNvPr id="346" name="Google Shape;346;p36"/>
              <p:cNvGrpSpPr/>
              <p:nvPr/>
            </p:nvGrpSpPr>
            <p:grpSpPr>
              <a:xfrm>
                <a:off x="15147" y="1066800"/>
                <a:ext cx="420600" cy="5334000"/>
                <a:chOff x="15147" y="1066800"/>
                <a:chExt cx="420600" cy="5334000"/>
              </a:xfrm>
            </p:grpSpPr>
            <p:cxnSp>
              <p:nvCxnSpPr>
                <p:cNvPr id="347" name="Google Shape;347;p36"/>
                <p:cNvCxnSpPr/>
                <p:nvPr/>
              </p:nvCxnSpPr>
              <p:spPr>
                <a:xfrm>
                  <a:off x="15147" y="42672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48" name="Google Shape;348;p36"/>
                <p:cNvCxnSpPr/>
                <p:nvPr/>
              </p:nvCxnSpPr>
              <p:spPr>
                <a:xfrm>
                  <a:off x="15147" y="32004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49" name="Google Shape;349;p36"/>
                <p:cNvCxnSpPr/>
                <p:nvPr/>
              </p:nvCxnSpPr>
              <p:spPr>
                <a:xfrm>
                  <a:off x="15147" y="21336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50" name="Google Shape;350;p36"/>
                <p:cNvCxnSpPr/>
                <p:nvPr/>
              </p:nvCxnSpPr>
              <p:spPr>
                <a:xfrm>
                  <a:off x="15147" y="53340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51" name="Google Shape;351;p36"/>
                <p:cNvCxnSpPr/>
                <p:nvPr/>
              </p:nvCxnSpPr>
              <p:spPr>
                <a:xfrm>
                  <a:off x="15147" y="1066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  <p:cxnSp>
              <p:nvCxnSpPr>
                <p:cNvPr id="352" name="Google Shape;352;p36"/>
                <p:cNvCxnSpPr/>
                <p:nvPr/>
              </p:nvCxnSpPr>
              <p:spPr>
                <a:xfrm>
                  <a:off x="15147" y="6400800"/>
                  <a:ext cx="420600" cy="0"/>
                </a:xfrm>
                <a:prstGeom prst="straightConnector1">
                  <a:avLst/>
                </a:prstGeom>
                <a:noFill/>
                <a:ln w="9525" cap="flat" cmpd="sng">
                  <a:solidFill>
                    <a:schemeClr val="lt1">
                      <a:alpha val="40000"/>
                    </a:schemeClr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</p:cxnSp>
          </p:grpSp>
          <p:cxnSp>
            <p:nvCxnSpPr>
              <p:cNvPr id="353" name="Google Shape;353;p36"/>
              <p:cNvCxnSpPr/>
              <p:nvPr/>
            </p:nvCxnSpPr>
            <p:spPr>
              <a:xfrm>
                <a:off x="431291" y="0"/>
                <a:ext cx="0" cy="6858000"/>
              </a:xfrm>
              <a:prstGeom prst="straightConnector1">
                <a:avLst/>
              </a:prstGeom>
              <a:noFill/>
              <a:ln w="9525" cap="flat" cmpd="sng">
                <a:solidFill>
                  <a:schemeClr val="lt1">
                    <a:alpha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</p:grpSp>
      <p:sp>
        <p:nvSpPr>
          <p:cNvPr id="354" name="Google Shape;354;p36"/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5" name="Google Shape;355;p36"/>
          <p:cNvSpPr txBox="1">
            <a:spLocks noGrp="1"/>
          </p:cNvSpPr>
          <p:nvPr>
            <p:ph type="title"/>
          </p:nvPr>
        </p:nvSpPr>
        <p:spPr>
          <a:xfrm>
            <a:off x="752888" y="274637"/>
            <a:ext cx="7400400" cy="7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99D8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99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6" name="Google Shape;356;p36"/>
          <p:cNvSpPr txBox="1">
            <a:spLocks noGrp="1"/>
          </p:cNvSpPr>
          <p:nvPr>
            <p:ph type="body" idx="1"/>
          </p:nvPr>
        </p:nvSpPr>
        <p:spPr>
          <a:xfrm>
            <a:off x="752888" y="1219200"/>
            <a:ext cx="7933800" cy="495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rgbClr val="07336F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07336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7336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7336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7336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07336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07336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57" name="Google Shape;357;p36" descr="G:\STALL\ST Comms\Templates &amp; Resources\Logos\Other Emblems\DOC Logo\DOC Color.png">
            <a:hlinkClick r:id="rId25"/>
          </p:cNvPr>
          <p:cNvPicPr preferRelativeResize="0"/>
          <p:nvPr/>
        </p:nvPicPr>
        <p:blipFill rotWithShape="1">
          <a:blip r:embed="rId26">
            <a:alphaModFix/>
          </a:blip>
          <a:srcRect/>
          <a:stretch/>
        </p:blipFill>
        <p:spPr>
          <a:xfrm>
            <a:off x="228602" y="6443460"/>
            <a:ext cx="371887" cy="371887"/>
          </a:xfrm>
          <a:prstGeom prst="rect">
            <a:avLst/>
          </a:prstGeom>
          <a:noFill/>
          <a:ln>
            <a:noFill/>
          </a:ln>
        </p:spPr>
      </p:pic>
      <p:pic>
        <p:nvPicPr>
          <p:cNvPr id="358" name="Google Shape;358;p36">
            <a:hlinkClick r:id="rId27"/>
          </p:cNvPr>
          <p:cNvPicPr preferRelativeResize="0"/>
          <p:nvPr/>
        </p:nvPicPr>
        <p:blipFill rotWithShape="1">
          <a:blip r:embed="rId28">
            <a:alphaModFix/>
          </a:blip>
          <a:srcRect/>
          <a:stretch/>
        </p:blipFill>
        <p:spPr>
          <a:xfrm>
            <a:off x="639828" y="6449251"/>
            <a:ext cx="360298" cy="360298"/>
          </a:xfrm>
          <a:prstGeom prst="rect">
            <a:avLst/>
          </a:prstGeom>
          <a:noFill/>
          <a:ln>
            <a:noFill/>
          </a:ln>
        </p:spPr>
      </p:pic>
      <p:sp>
        <p:nvSpPr>
          <p:cNvPr id="359" name="Google Shape;359;p36"/>
          <p:cNvSpPr txBox="1"/>
          <p:nvPr/>
        </p:nvSpPr>
        <p:spPr>
          <a:xfrm>
            <a:off x="1447800" y="6551713"/>
            <a:ext cx="7239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B4596"/>
              </a:buClr>
              <a:buSzPts val="250"/>
              <a:buFont typeface="Arial Narrow"/>
              <a:buNone/>
            </a:pPr>
            <a:r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Department of Commerce  //  National Oceanic and Atmospheric Administration  //  </a:t>
            </a:r>
            <a:fld id="{00000000-1234-1234-1234-123412341234}" type="slidenum">
              <a:rPr lang="en-US" sz="1000" b="0" i="0" u="none" strike="noStrike" cap="none">
                <a:solidFill>
                  <a:srgbClr val="0B4596"/>
                </a:solidFill>
                <a:latin typeface="Arial Narrow"/>
                <a:ea typeface="Arial Narrow"/>
                <a:cs typeface="Arial Narrow"/>
                <a:sym typeface="Arial Narrow"/>
              </a:rPr>
              <a:t>‹#›</a:t>
            </a:fld>
            <a:endParaRPr sz="1000" b="0" i="0" u="none" strike="noStrike" cap="none">
              <a:solidFill>
                <a:srgbClr val="0B4596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360" name="Google Shape;360;p36">
            <a:hlinkClick r:id="rId17"/>
          </p:cNvPr>
          <p:cNvPicPr preferRelativeResize="0"/>
          <p:nvPr/>
        </p:nvPicPr>
        <p:blipFill rotWithShape="1">
          <a:blip r:embed="rId29">
            <a:alphaModFix/>
          </a:blip>
          <a:srcRect/>
          <a:stretch/>
        </p:blipFill>
        <p:spPr>
          <a:xfrm>
            <a:off x="8229600" y="152400"/>
            <a:ext cx="762000" cy="7620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82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solidFill>
                <a:srgbClr val="000000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5BFC25D2-46B4-48A8-815B-8B73AE6D7D02}"/>
              </a:ext>
            </a:extLst>
          </p:cNvPr>
          <p:cNvGrpSpPr/>
          <p:nvPr/>
        </p:nvGrpSpPr>
        <p:grpSpPr>
          <a:xfrm>
            <a:off x="-30388" y="0"/>
            <a:ext cx="472440" cy="6858000"/>
            <a:chOff x="-15240" y="0"/>
            <a:chExt cx="472440" cy="685800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05380E8E-686E-44AA-A86B-7EC90EA65BA0}"/>
                </a:ext>
              </a:extLst>
            </p:cNvPr>
            <p:cNvSpPr/>
            <p:nvPr userDrawn="1"/>
          </p:nvSpPr>
          <p:spPr>
            <a:xfrm>
              <a:off x="10668" y="0"/>
              <a:ext cx="420624" cy="6858000"/>
            </a:xfrm>
            <a:prstGeom prst="rect">
              <a:avLst/>
            </a:prstGeom>
            <a:solidFill>
              <a:srgbClr val="0099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472334-2800-4CDD-A6EB-19D19FDD2353}"/>
                </a:ext>
              </a:extLst>
            </p:cNvPr>
            <p:cNvSpPr/>
            <p:nvPr userDrawn="1"/>
          </p:nvSpPr>
          <p:spPr>
            <a:xfrm>
              <a:off x="16002" y="3197352"/>
              <a:ext cx="409956" cy="1069848"/>
            </a:xfrm>
            <a:prstGeom prst="rect">
              <a:avLst/>
            </a:prstGeom>
            <a:solidFill>
              <a:srgbClr val="0B459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7" name="Picture 13" descr="C:\Users\jacqui.fenner\Desktop\PTT templates\images\noaa icons\noaa_icons-04.png">
              <a:hlinkClick r:id="rId35"/>
              <a:extLst>
                <a:ext uri="{FF2B5EF4-FFF2-40B4-BE49-F238E27FC236}">
                  <a16:creationId xmlns:a16="http://schemas.microsoft.com/office/drawing/2014/main" id="{DC6FC8E8-B48C-4CA2-BCF9-DEB2B72C72A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5714999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14" descr="C:\Users\jacqui.fenner\Desktop\PTT templates\images\noaa icons\noaa_icons-05.png">
              <a:hlinkClick r:id="rId37"/>
              <a:extLst>
                <a:ext uri="{FF2B5EF4-FFF2-40B4-BE49-F238E27FC236}">
                  <a16:creationId xmlns:a16="http://schemas.microsoft.com/office/drawing/2014/main" id="{378377DB-914E-4B03-AB02-A1615DB9C88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46482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15" descr="C:\Users\jacqui.fenner\Desktop\PTT templates\images\noaa icons\noaa_icons-06.png">
              <a:hlinkClick r:id="rId39"/>
              <a:extLst>
                <a:ext uri="{FF2B5EF4-FFF2-40B4-BE49-F238E27FC236}">
                  <a16:creationId xmlns:a16="http://schemas.microsoft.com/office/drawing/2014/main" id="{DA33F751-2744-4361-ADBC-5E9C1C32F14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5814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6" descr="C:\Users\jacqui.fenner\Desktop\PTT templates\images\noaa icons\noaa_icons-07.png">
              <a:hlinkClick r:id="rId41"/>
              <a:extLst>
                <a:ext uri="{FF2B5EF4-FFF2-40B4-BE49-F238E27FC236}">
                  <a16:creationId xmlns:a16="http://schemas.microsoft.com/office/drawing/2014/main" id="{67EB490B-5A65-4C58-B062-CDEE50F3B6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25146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7" descr="C:\Users\jacqui.fenner\Desktop\PTT templates\images\noaa icons\noaa_icons-08.png">
              <a:hlinkClick r:id="rId43"/>
              <a:extLst>
                <a:ext uri="{FF2B5EF4-FFF2-40B4-BE49-F238E27FC236}">
                  <a16:creationId xmlns:a16="http://schemas.microsoft.com/office/drawing/2014/main" id="{A0345F86-CE29-45BB-A02A-21248D7B014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14478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9" descr="C:\Users\jacqui.fenner\Desktop\PTT templates\images\noaa icons\noaa_icons-10.png">
              <a:hlinkClick r:id="rId45"/>
              <a:extLst>
                <a:ext uri="{FF2B5EF4-FFF2-40B4-BE49-F238E27FC236}">
                  <a16:creationId xmlns:a16="http://schemas.microsoft.com/office/drawing/2014/main" id="{71BC0FA9-D336-4B75-9DC5-CF0AC1C308E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240" y="381000"/>
              <a:ext cx="472440" cy="32400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82AC6288-2087-49F5-88DA-1ACC173705CA}"/>
                </a:ext>
              </a:extLst>
            </p:cNvPr>
            <p:cNvGrpSpPr/>
            <p:nvPr userDrawn="1"/>
          </p:nvGrpSpPr>
          <p:grpSpPr>
            <a:xfrm>
              <a:off x="15148" y="0"/>
              <a:ext cx="420624" cy="6858000"/>
              <a:chOff x="15148" y="0"/>
              <a:chExt cx="420624" cy="6858000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E4424DAE-586A-4CBA-A254-7F4506DCAC90}"/>
                  </a:ext>
                </a:extLst>
              </p:cNvPr>
              <p:cNvGrpSpPr/>
              <p:nvPr userDrawn="1"/>
            </p:nvGrpSpPr>
            <p:grpSpPr>
              <a:xfrm>
                <a:off x="15148" y="1066800"/>
                <a:ext cx="420624" cy="5334000"/>
                <a:chOff x="15148" y="1066800"/>
                <a:chExt cx="420624" cy="5334000"/>
              </a:xfrm>
            </p:grpSpPr>
            <p:cxnSp>
              <p:nvCxnSpPr>
                <p:cNvPr id="76" name="Straight Connector 75">
                  <a:extLst>
                    <a:ext uri="{FF2B5EF4-FFF2-40B4-BE49-F238E27FC236}">
                      <a16:creationId xmlns:a16="http://schemas.microsoft.com/office/drawing/2014/main" id="{B10220D9-373F-4592-84F6-9BE4608FC6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42672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4EA03BB0-96C7-4835-8919-4A6AA07CCAB1}"/>
                    </a:ext>
                  </a:extLst>
                </p:cNvPr>
                <p:cNvCxnSpPr/>
                <p:nvPr userDrawn="1"/>
              </p:nvCxnSpPr>
              <p:spPr>
                <a:xfrm>
                  <a:off x="15148" y="32004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5248C7FE-FF23-4167-86FD-1A6591DA5E00}"/>
                    </a:ext>
                  </a:extLst>
                </p:cNvPr>
                <p:cNvCxnSpPr/>
                <p:nvPr userDrawn="1"/>
              </p:nvCxnSpPr>
              <p:spPr>
                <a:xfrm>
                  <a:off x="15148" y="21336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Connector 78">
                  <a:extLst>
                    <a:ext uri="{FF2B5EF4-FFF2-40B4-BE49-F238E27FC236}">
                      <a16:creationId xmlns:a16="http://schemas.microsoft.com/office/drawing/2014/main" id="{F81AA116-2C2C-45B7-BB44-11611DF2C4C6}"/>
                    </a:ext>
                  </a:extLst>
                </p:cNvPr>
                <p:cNvCxnSpPr/>
                <p:nvPr userDrawn="1"/>
              </p:nvCxnSpPr>
              <p:spPr>
                <a:xfrm>
                  <a:off x="15148" y="53340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>
                  <a:extLst>
                    <a:ext uri="{FF2B5EF4-FFF2-40B4-BE49-F238E27FC236}">
                      <a16:creationId xmlns:a16="http://schemas.microsoft.com/office/drawing/2014/main" id="{4B727494-C17C-412E-9E16-358E6689B740}"/>
                    </a:ext>
                  </a:extLst>
                </p:cNvPr>
                <p:cNvCxnSpPr/>
                <p:nvPr userDrawn="1"/>
              </p:nvCxnSpPr>
              <p:spPr>
                <a:xfrm>
                  <a:off x="15148" y="1066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>
                  <a:extLst>
                    <a:ext uri="{FF2B5EF4-FFF2-40B4-BE49-F238E27FC236}">
                      <a16:creationId xmlns:a16="http://schemas.microsoft.com/office/drawing/2014/main" id="{CFDDDB16-0B1F-498F-A6A5-74EBA0CE475C}"/>
                    </a:ext>
                  </a:extLst>
                </p:cNvPr>
                <p:cNvCxnSpPr/>
                <p:nvPr userDrawn="1"/>
              </p:nvCxnSpPr>
              <p:spPr>
                <a:xfrm>
                  <a:off x="15148" y="6400800"/>
                  <a:ext cx="420624" cy="0"/>
                </a:xfrm>
                <a:prstGeom prst="line">
                  <a:avLst/>
                </a:prstGeom>
                <a:ln>
                  <a:solidFill>
                    <a:schemeClr val="bg1">
                      <a:alpha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F8AB092E-2021-4BD7-B0CE-F3EE8B4BCE52}"/>
                  </a:ext>
                </a:extLst>
              </p:cNvPr>
              <p:cNvCxnSpPr/>
              <p:nvPr userDrawn="1"/>
            </p:nvCxnSpPr>
            <p:spPr>
              <a:xfrm>
                <a:off x="431292" y="0"/>
                <a:ext cx="0" cy="6858000"/>
              </a:xfrm>
              <a:prstGeom prst="line">
                <a:avLst/>
              </a:prstGeom>
              <a:ln>
                <a:solidFill>
                  <a:schemeClr val="bg1">
                    <a:alpha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AF122C4F-7967-4602-86CB-8874010C5FCE}"/>
              </a:ext>
            </a:extLst>
          </p:cNvPr>
          <p:cNvSpPr/>
          <p:nvPr/>
        </p:nvSpPr>
        <p:spPr>
          <a:xfrm>
            <a:off x="0" y="6400801"/>
            <a:ext cx="9144000" cy="457200"/>
          </a:xfrm>
          <a:prstGeom prst="rect">
            <a:avLst/>
          </a:prstGeom>
          <a:solidFill>
            <a:srgbClr val="D6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3" name="Picture 2" descr="G:\STALL\ST Comms\Templates &amp; Resources\Logos\Other Emblems\DOC Logo\DOC Color.png">
            <a:hlinkClick r:id="rId47"/>
            <a:extLst>
              <a:ext uri="{FF2B5EF4-FFF2-40B4-BE49-F238E27FC236}">
                <a16:creationId xmlns:a16="http://schemas.microsoft.com/office/drawing/2014/main" id="{943A061D-245B-44B0-A1A1-DF52552C3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443457"/>
            <a:ext cx="371888" cy="3718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>
            <a:hlinkClick r:id="rId49"/>
            <a:extLst>
              <a:ext uri="{FF2B5EF4-FFF2-40B4-BE49-F238E27FC236}">
                <a16:creationId xmlns:a16="http://schemas.microsoft.com/office/drawing/2014/main" id="{BA488372-3466-43CC-819E-C3A07820A3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9827" y="6449252"/>
            <a:ext cx="360298" cy="36029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41BE8B26-3D70-4BC0-A0F7-E5450EF1A19C}"/>
              </a:ext>
            </a:extLst>
          </p:cNvPr>
          <p:cNvSpPr txBox="1"/>
          <p:nvPr/>
        </p:nvSpPr>
        <p:spPr>
          <a:xfrm>
            <a:off x="1447800" y="6551712"/>
            <a:ext cx="72390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rgbClr val="0B4596"/>
                </a:solidFill>
                <a:latin typeface="Arial Narrow" panose="020B0606020202030204" pitchFamily="34" charset="0"/>
              </a:rPr>
              <a:t>Department of Commerce  //  National Oceanic and Atmospheric Administration  //</a:t>
            </a:r>
            <a:r>
              <a:rPr lang="en-US" sz="1000" baseline="0" dirty="0">
                <a:solidFill>
                  <a:srgbClr val="0B4596"/>
                </a:solidFill>
                <a:latin typeface="Arial Narrow" panose="020B0606020202030204" pitchFamily="34" charset="0"/>
              </a:rPr>
              <a:t> </a:t>
            </a:r>
            <a:r>
              <a:rPr lang="en-US" sz="1000" dirty="0">
                <a:solidFill>
                  <a:srgbClr val="0B4596"/>
                </a:solidFill>
                <a:latin typeface="Arial Narrow" panose="020B0606020202030204" pitchFamily="34" charset="0"/>
              </a:rPr>
              <a:t> </a:t>
            </a:r>
            <a:fld id="{BAD75039-5660-4072-AAD8-5764B7DF14A3}" type="slidenum">
              <a:rPr lang="en-US" sz="1000" smtClean="0">
                <a:solidFill>
                  <a:srgbClr val="0B4596"/>
                </a:solidFill>
                <a:latin typeface="Arial Narrow" panose="020B0606020202030204" pitchFamily="34" charset="0"/>
              </a:rPr>
              <a:t>‹#›</a:t>
            </a:fld>
            <a:endParaRPr lang="en-US" sz="1000" dirty="0">
              <a:solidFill>
                <a:srgbClr val="0B4596"/>
              </a:solidFill>
              <a:latin typeface="Arial Narrow" panose="020B0606020202030204" pitchFamily="34" charset="0"/>
            </a:endParaRPr>
          </a:p>
        </p:txBody>
      </p:sp>
      <p:pic>
        <p:nvPicPr>
          <p:cNvPr id="86" name="Picture 2">
            <a:hlinkClick r:id="rId39"/>
            <a:extLst>
              <a:ext uri="{FF2B5EF4-FFF2-40B4-BE49-F238E27FC236}">
                <a16:creationId xmlns:a16="http://schemas.microsoft.com/office/drawing/2014/main" id="{96A2458E-E8A1-4651-B7BE-1A7FB41E2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29600" y="152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13085" y="234864"/>
            <a:ext cx="7521127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513085" y="77303"/>
            <a:ext cx="500512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513085" y="566136"/>
            <a:ext cx="752112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513084" y="6050233"/>
            <a:ext cx="84785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0325" indent="-60325">
              <a:defRPr lang="x-none"/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513084" y="6222989"/>
            <a:ext cx="84785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31800" indent="-431800" defTabSz="895350">
              <a:tabLst>
                <a:tab pos="612775" algn="l"/>
              </a:tabLst>
            </a:pPr>
            <a:r>
              <a:rPr lang="en-US" sz="800" baseline="0" dirty="0">
                <a:solidFill>
                  <a:srgbClr val="808080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5" y="1924297"/>
            <a:ext cx="4350892" cy="12561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91399"/>
            <a:ext cx="4350892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7551234" y="296420"/>
            <a:ext cx="482978" cy="15387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x-none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LegendBoxes" hidden="1"/>
          <p:cNvGrpSpPr/>
          <p:nvPr/>
        </p:nvGrpSpPr>
        <p:grpSpPr bwMode="gray">
          <a:xfrm>
            <a:off x="7254898" y="296420"/>
            <a:ext cx="779314" cy="101772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6940819" y="296420"/>
            <a:ext cx="1093393" cy="745084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632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7186865" y="296420"/>
            <a:ext cx="847347" cy="1333054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x-none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7" name="Moon" hidden="1">
            <a:extLst>
              <a:ext uri="{FF2B5EF4-FFF2-40B4-BE49-F238E27FC236}">
                <a16:creationId xmlns:a16="http://schemas.microsoft.com/office/drawing/2014/main" id="{6D970236-E2F7-464E-AD6E-7CC2C6562D4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6255956" y="986997"/>
            <a:ext cx="254000" cy="254000"/>
            <a:chOff x="1600" y="1600"/>
            <a:chExt cx="160" cy="160"/>
          </a:xfrm>
        </p:grpSpPr>
        <p:sp>
          <p:nvSpPr>
            <p:cNvPr id="88" name="Oval 90">
              <a:extLst>
                <a:ext uri="{FF2B5EF4-FFF2-40B4-BE49-F238E27FC236}">
                  <a16:creationId xmlns:a16="http://schemas.microsoft.com/office/drawing/2014/main" id="{653D43A9-39E6-40FB-9DE8-1873E44622C4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" name="Arc 91">
              <a:extLst>
                <a:ext uri="{FF2B5EF4-FFF2-40B4-BE49-F238E27FC236}">
                  <a16:creationId xmlns:a16="http://schemas.microsoft.com/office/drawing/2014/main" id="{08DEB487-4550-40CB-8C54-D853A3B49445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0" name="Rectangle" hidden="1">
            <a:extLst>
              <a:ext uri="{FF2B5EF4-FFF2-40B4-BE49-F238E27FC236}">
                <a16:creationId xmlns:a16="http://schemas.microsoft.com/office/drawing/2014/main" id="{7C174CCE-D3BB-4BBA-B430-31313633CA81}"/>
              </a:ext>
            </a:extLst>
          </p:cNvPr>
          <p:cNvSpPr txBox="1">
            <a:spLocks/>
          </p:cNvSpPr>
          <p:nvPr/>
        </p:nvSpPr>
        <p:spPr>
          <a:xfrm>
            <a:off x="1430266" y="1838149"/>
            <a:ext cx="1524000" cy="1524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0" dirty="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91" name="Flow" hidden="1">
            <a:extLst>
              <a:ext uri="{FF2B5EF4-FFF2-40B4-BE49-F238E27FC236}">
                <a16:creationId xmlns:a16="http://schemas.microsoft.com/office/drawing/2014/main" id="{EF8FF01B-B09D-426F-854A-F7FF33BC9D5E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1366766" y="4486874"/>
            <a:ext cx="1828800" cy="914400"/>
            <a:chOff x="5905500" y="3124200"/>
            <a:chExt cx="1828800" cy="914400"/>
          </a:xfrm>
        </p:grpSpPr>
        <p:sp>
          <p:nvSpPr>
            <p:cNvPr id="92" name="Freeform 21">
              <a:extLst>
                <a:ext uri="{FF2B5EF4-FFF2-40B4-BE49-F238E27FC236}">
                  <a16:creationId xmlns:a16="http://schemas.microsoft.com/office/drawing/2014/main" id="{2E2FFC1B-0FE7-4606-AB51-69B259A10C34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C345387-8E5E-430E-A04A-23832536CD54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94" name="Oval" hidden="1">
            <a:extLst>
              <a:ext uri="{FF2B5EF4-FFF2-40B4-BE49-F238E27FC236}">
                <a16:creationId xmlns:a16="http://schemas.microsoft.com/office/drawing/2014/main" id="{6B8509C3-30DD-44E8-AE4D-DF6F1BB62744}"/>
              </a:ext>
            </a:extLst>
          </p:cNvPr>
          <p:cNvSpPr txBox="1">
            <a:spLocks/>
          </p:cNvSpPr>
          <p:nvPr/>
        </p:nvSpPr>
        <p:spPr>
          <a:xfrm>
            <a:off x="6582019" y="1646244"/>
            <a:ext cx="1524000" cy="15240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0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95" name="RoundedRectangle" hidden="1">
            <a:extLst>
              <a:ext uri="{FF2B5EF4-FFF2-40B4-BE49-F238E27FC236}">
                <a16:creationId xmlns:a16="http://schemas.microsoft.com/office/drawing/2014/main" id="{874C4FB3-D313-4F2D-8B25-671B8D874822}"/>
              </a:ext>
            </a:extLst>
          </p:cNvPr>
          <p:cNvSpPr txBox="1">
            <a:spLocks/>
          </p:cNvSpPr>
          <p:nvPr/>
        </p:nvSpPr>
        <p:spPr>
          <a:xfrm>
            <a:off x="6563373" y="4130671"/>
            <a:ext cx="1524000" cy="1524000"/>
          </a:xfrm>
          <a:prstGeom prst="roundRect">
            <a:avLst>
              <a:gd name="adj" fmla="val 12576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b="0" dirty="0">
                <a:solidFill>
                  <a:schemeClr val="bg1"/>
                </a:solidFill>
              </a:rPr>
              <a:t>Text</a:t>
            </a:r>
          </a:p>
        </p:txBody>
      </p:sp>
      <p:grpSp>
        <p:nvGrpSpPr>
          <p:cNvPr id="96" name="SplitFlow" hidden="1">
            <a:extLst>
              <a:ext uri="{FF2B5EF4-FFF2-40B4-BE49-F238E27FC236}">
                <a16:creationId xmlns:a16="http://schemas.microsoft.com/office/drawing/2014/main" id="{CC0163DE-2A9C-40FB-BDBC-D19CFFA94EB1}"/>
              </a:ext>
            </a:extLst>
          </p:cNvPr>
          <p:cNvGrpSpPr/>
          <p:nvPr/>
        </p:nvGrpSpPr>
        <p:grpSpPr>
          <a:xfrm>
            <a:off x="3371630" y="2142949"/>
            <a:ext cx="1828800" cy="914400"/>
            <a:chOff x="5584224" y="3233016"/>
            <a:chExt cx="1828800" cy="914400"/>
          </a:xfrm>
        </p:grpSpPr>
        <p:sp>
          <p:nvSpPr>
            <p:cNvPr id="97" name="Freeform 26">
              <a:extLst>
                <a:ext uri="{FF2B5EF4-FFF2-40B4-BE49-F238E27FC236}">
                  <a16:creationId xmlns:a16="http://schemas.microsoft.com/office/drawing/2014/main" id="{E30E3B7B-089F-4DE5-9ABA-50D3401CC7CD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5584224" y="32330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98" name="Freeform 27">
              <a:extLst>
                <a:ext uri="{FF2B5EF4-FFF2-40B4-BE49-F238E27FC236}">
                  <a16:creationId xmlns:a16="http://schemas.microsoft.com/office/drawing/2014/main" id="{F0CF8880-46C0-45DD-939C-2E7CE3D4506B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5584224" y="3690216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5300BCC-8C9B-48AC-894E-17EAAFAC0433}"/>
                </a:ext>
              </a:extLst>
            </p:cNvPr>
            <p:cNvSpPr txBox="1"/>
            <p:nvPr/>
          </p:nvSpPr>
          <p:spPr>
            <a:xfrm>
              <a:off x="5647724" y="3342121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F67DA40E-20E7-4FAC-BD9F-AF95ABE2C707}"/>
                </a:ext>
              </a:extLst>
            </p:cNvPr>
            <p:cNvSpPr txBox="1"/>
            <p:nvPr/>
          </p:nvSpPr>
          <p:spPr>
            <a:xfrm>
              <a:off x="5647724" y="3795706"/>
              <a:ext cx="152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b="1" dirty="0">
                  <a:solidFill>
                    <a:schemeClr val="bg1"/>
                  </a:solidFill>
                </a:rPr>
                <a:t>Text</a:t>
              </a:r>
            </a:p>
          </p:txBody>
        </p:sp>
      </p:grpSp>
      <p:sp>
        <p:nvSpPr>
          <p:cNvPr id="101" name="DirArrow" hidden="1">
            <a:extLst>
              <a:ext uri="{FF2B5EF4-FFF2-40B4-BE49-F238E27FC236}">
                <a16:creationId xmlns:a16="http://schemas.microsoft.com/office/drawing/2014/main" id="{3EC3315D-CFFF-47C1-B6AA-48B8FC1D163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4244162" y="2428445"/>
            <a:ext cx="3090672" cy="3434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02" name="Right Arrow" hidden="1">
            <a:extLst>
              <a:ext uri="{FF2B5EF4-FFF2-40B4-BE49-F238E27FC236}">
                <a16:creationId xmlns:a16="http://schemas.microsoft.com/office/drawing/2014/main" id="{35367A50-028E-4E7A-98ED-5FC45E249D32}"/>
              </a:ext>
            </a:extLst>
          </p:cNvPr>
          <p:cNvSpPr>
            <a:spLocks/>
          </p:cNvSpPr>
          <p:nvPr/>
        </p:nvSpPr>
        <p:spPr>
          <a:xfrm>
            <a:off x="3487909" y="3384613"/>
            <a:ext cx="1828800" cy="914400"/>
          </a:xfrm>
          <a:prstGeom prst="rightArrow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03" name="Arrow" hidden="1">
            <a:extLst>
              <a:ext uri="{FF2B5EF4-FFF2-40B4-BE49-F238E27FC236}">
                <a16:creationId xmlns:a16="http://schemas.microsoft.com/office/drawing/2014/main" id="{FC23D4F7-5E55-44DC-B615-9BB66278F132}"/>
              </a:ext>
            </a:extLst>
          </p:cNvPr>
          <p:cNvSpPr txBox="1">
            <a:spLocks/>
          </p:cNvSpPr>
          <p:nvPr/>
        </p:nvSpPr>
        <p:spPr>
          <a:xfrm>
            <a:off x="3556437" y="4532397"/>
            <a:ext cx="1828800" cy="914400"/>
          </a:xfrm>
          <a:prstGeom prst="rightArrow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04" name="StickerRectangle">
            <a:extLst>
              <a:ext uri="{FF2B5EF4-FFF2-40B4-BE49-F238E27FC236}">
                <a16:creationId xmlns:a16="http://schemas.microsoft.com/office/drawing/2014/main" id="{E3C6C2AA-3214-46A6-979A-FFABB49A9A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6187" y="8482"/>
            <a:ext cx="1389212" cy="15137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989" tIns="0" rIns="0" bIns="27989">
            <a:spAutoFit/>
          </a:bodyPr>
          <a:lstStyle/>
          <a:p>
            <a:pPr algn="r" defTabSz="913526">
              <a:buClr>
                <a:schemeClr val="tx2"/>
              </a:buClr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Pre-decisional and deliberative</a:t>
            </a:r>
          </a:p>
        </p:txBody>
      </p:sp>
    </p:spTree>
    <p:extLst>
      <p:ext uri="{BB962C8B-B14F-4D97-AF65-F5344CB8AC3E}">
        <p14:creationId xmlns:p14="http://schemas.microsoft.com/office/powerpoint/2010/main" val="339531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1" baseline="0" noProof="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4" name="Google Shape;884;p1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18877" b="18876"/>
          <a:stretch/>
        </p:blipFill>
        <p:spPr>
          <a:xfrm>
            <a:off x="412576" y="4267200"/>
            <a:ext cx="8729079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885" name="Google Shape;885;p1"/>
          <p:cNvSpPr txBox="1">
            <a:spLocks noGrp="1"/>
          </p:cNvSpPr>
          <p:nvPr>
            <p:ph type="body" idx="1"/>
          </p:nvPr>
        </p:nvSpPr>
        <p:spPr>
          <a:xfrm>
            <a:off x="609600" y="2590800"/>
            <a:ext cx="1524000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dirty="0">
                <a:latin typeface="Candara"/>
                <a:ea typeface="Candara"/>
                <a:cs typeface="Candara"/>
                <a:sym typeface="Candara"/>
              </a:rPr>
              <a:t>Satellite and Information Service</a:t>
            </a:r>
            <a:endParaRPr dirty="0"/>
          </a:p>
        </p:txBody>
      </p:sp>
      <p:sp>
        <p:nvSpPr>
          <p:cNvPr id="886" name="Google Shape;886;p1"/>
          <p:cNvSpPr txBox="1">
            <a:spLocks noGrp="1"/>
          </p:cNvSpPr>
          <p:nvPr>
            <p:ph type="body" idx="3"/>
          </p:nvPr>
        </p:nvSpPr>
        <p:spPr>
          <a:xfrm>
            <a:off x="623001" y="3527293"/>
            <a:ext cx="1497199" cy="573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400" dirty="0">
                <a:latin typeface="Candara"/>
                <a:ea typeface="Candara"/>
                <a:cs typeface="Candara"/>
                <a:sym typeface="Candara"/>
              </a:rPr>
              <a:t>December 18, 2019</a:t>
            </a:r>
            <a:endParaRPr sz="1400" dirty="0">
              <a:latin typeface="Candara"/>
              <a:ea typeface="Candara"/>
              <a:cs typeface="Candara"/>
              <a:sym typeface="Candara"/>
            </a:endParaRPr>
          </a:p>
        </p:txBody>
      </p:sp>
      <p:sp>
        <p:nvSpPr>
          <p:cNvPr id="887" name="Google Shape;887;p1"/>
          <p:cNvSpPr txBox="1">
            <a:spLocks noGrp="1"/>
          </p:cNvSpPr>
          <p:nvPr>
            <p:ph type="body" idx="4"/>
          </p:nvPr>
        </p:nvSpPr>
        <p:spPr>
          <a:xfrm>
            <a:off x="2514600" y="691910"/>
            <a:ext cx="6096000" cy="1916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</a:pPr>
            <a:r>
              <a:rPr lang="en-US" sz="3600" dirty="0" smtClean="0">
                <a:latin typeface="Candara"/>
                <a:ea typeface="Candara"/>
                <a:cs typeface="Candara"/>
                <a:sym typeface="Candara"/>
              </a:rPr>
              <a:t>JPSS/GOES-R Proving Ground/ Risk Reduction Summit</a:t>
            </a:r>
          </a:p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None/>
            </a:pPr>
            <a:r>
              <a:rPr lang="en-US" sz="2400" dirty="0" smtClean="0">
                <a:latin typeface="Candara"/>
                <a:ea typeface="Candara"/>
                <a:cs typeface="Candara"/>
                <a:sym typeface="Candara"/>
              </a:rPr>
              <a:t>February 24, 2020</a:t>
            </a:r>
            <a:endParaRPr sz="2400" dirty="0">
              <a:latin typeface="Candara"/>
              <a:ea typeface="Candara"/>
              <a:cs typeface="Candara"/>
              <a:sym typeface="Candara"/>
            </a:endParaRPr>
          </a:p>
        </p:txBody>
      </p:sp>
      <p:sp>
        <p:nvSpPr>
          <p:cNvPr id="888" name="Google Shape;888;p1"/>
          <p:cNvSpPr txBox="1">
            <a:spLocks noGrp="1"/>
          </p:cNvSpPr>
          <p:nvPr>
            <p:ph type="body" idx="6"/>
          </p:nvPr>
        </p:nvSpPr>
        <p:spPr>
          <a:xfrm>
            <a:off x="2514600" y="3311237"/>
            <a:ext cx="6096000" cy="69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dirty="0">
                <a:latin typeface="Candara"/>
                <a:ea typeface="Candara"/>
                <a:cs typeface="Candara"/>
                <a:sym typeface="Candara"/>
              </a:rPr>
              <a:t>Stephen Volz, Ph.D., Assistant Administrator for Satellites and Information Services, National Oceanic and Atmospheric Administration</a:t>
            </a:r>
            <a:endParaRPr dirty="0"/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>
              <a:latin typeface="Candara"/>
              <a:ea typeface="Candara"/>
              <a:cs typeface="Candara"/>
              <a:sym typeface="Candar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87" t="12267" r="9270" b="11113"/>
          <a:stretch/>
        </p:blipFill>
        <p:spPr>
          <a:xfrm>
            <a:off x="411479" y="-1"/>
            <a:ext cx="8730737" cy="639127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05840" y="737753"/>
            <a:ext cx="7488857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Our Aspiration</a:t>
            </a:r>
          </a:p>
          <a:p>
            <a:pPr algn="ctr"/>
            <a:endParaRPr lang="en-US" sz="32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  <a:p>
            <a:pPr algn="ctr"/>
            <a:r>
              <a:rPr lang="en-US" sz="32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Provide a truly integrated digital understanding of our Earth environment that can evolve quickly to meet changing user expectations by leveraging our own capabilities and partnerships</a:t>
            </a:r>
          </a:p>
        </p:txBody>
      </p:sp>
    </p:spTree>
    <p:extLst>
      <p:ext uri="{BB962C8B-B14F-4D97-AF65-F5344CB8AC3E}">
        <p14:creationId xmlns:p14="http://schemas.microsoft.com/office/powerpoint/2010/main" val="400817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cover value through listening</a:t>
            </a:r>
            <a:endParaRPr lang="en-US" dirty="0"/>
          </a:p>
        </p:txBody>
      </p:sp>
      <p:sp>
        <p:nvSpPr>
          <p:cNvPr id="43" name="Oval 42"/>
          <p:cNvSpPr/>
          <p:nvPr/>
        </p:nvSpPr>
        <p:spPr>
          <a:xfrm>
            <a:off x="1259632" y="1458686"/>
            <a:ext cx="1912776" cy="19127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User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5965371" y="1458686"/>
            <a:ext cx="1912776" cy="19127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Developer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2944056" y="2917868"/>
            <a:ext cx="3249666" cy="32496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Conversation</a:t>
            </a:r>
            <a:endParaRPr lang="en-US" sz="2400" b="1" dirty="0">
              <a:solidFill>
                <a:schemeClr val="bg1"/>
              </a:solidFill>
            </a:endParaRPr>
          </a:p>
        </p:txBody>
      </p:sp>
      <p:cxnSp>
        <p:nvCxnSpPr>
          <p:cNvPr id="47" name="Straight Arrow Connector 46"/>
          <p:cNvCxnSpPr>
            <a:stCxn id="43" idx="5"/>
            <a:endCxn id="45" idx="1"/>
          </p:cNvCxnSpPr>
          <p:nvPr/>
        </p:nvCxnSpPr>
        <p:spPr>
          <a:xfrm>
            <a:off x="2892288" y="3091342"/>
            <a:ext cx="527671" cy="302429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>
            <a:stCxn id="44" idx="3"/>
            <a:endCxn id="45" idx="7"/>
          </p:cNvCxnSpPr>
          <p:nvPr/>
        </p:nvCxnSpPr>
        <p:spPr>
          <a:xfrm flipH="1">
            <a:off x="5717819" y="3091342"/>
            <a:ext cx="527672" cy="302429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01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Google Shape;1059;p20"/>
          <p:cNvSpPr txBox="1">
            <a:spLocks noGrp="1"/>
          </p:cNvSpPr>
          <p:nvPr>
            <p:ph type="body" idx="1"/>
          </p:nvPr>
        </p:nvSpPr>
        <p:spPr>
          <a:xfrm>
            <a:off x="685800" y="2580719"/>
            <a:ext cx="1371600" cy="960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US">
                <a:latin typeface="Candara"/>
                <a:ea typeface="Candara"/>
                <a:cs typeface="Candara"/>
                <a:sym typeface="Candara"/>
              </a:rPr>
              <a:t>Satellite and Information Service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/>
          </a:p>
        </p:txBody>
      </p:sp>
      <p:sp>
        <p:nvSpPr>
          <p:cNvPr id="1060" name="Google Shape;1060;p20"/>
          <p:cNvSpPr txBox="1">
            <a:spLocks noGrp="1"/>
          </p:cNvSpPr>
          <p:nvPr>
            <p:ph type="body" idx="3"/>
          </p:nvPr>
        </p:nvSpPr>
        <p:spPr>
          <a:xfrm>
            <a:off x="484700" y="3543525"/>
            <a:ext cx="1697100" cy="2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US" dirty="0">
                <a:latin typeface="Candara"/>
                <a:ea typeface="Candara"/>
                <a:cs typeface="Candara"/>
                <a:sym typeface="Candara"/>
              </a:rPr>
              <a:t>December 18, 2019 </a:t>
            </a:r>
            <a:endParaRPr dirty="0">
              <a:latin typeface="Candara"/>
              <a:ea typeface="Candara"/>
              <a:cs typeface="Candara"/>
              <a:sym typeface="Candara"/>
            </a:endParaRPr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 dirty="0"/>
          </a:p>
        </p:txBody>
      </p:sp>
      <p:sp>
        <p:nvSpPr>
          <p:cNvPr id="1061" name="Google Shape;1061;p20"/>
          <p:cNvSpPr txBox="1">
            <a:spLocks noGrp="1"/>
          </p:cNvSpPr>
          <p:nvPr>
            <p:ph type="body" idx="4"/>
          </p:nvPr>
        </p:nvSpPr>
        <p:spPr>
          <a:xfrm>
            <a:off x="2514600" y="768747"/>
            <a:ext cx="6096000" cy="1358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US" sz="6000">
                <a:latin typeface="Candara"/>
                <a:ea typeface="Candara"/>
                <a:cs typeface="Candara"/>
                <a:sym typeface="Candara"/>
              </a:rPr>
              <a:t>THANK YOU</a:t>
            </a:r>
            <a:endParaRPr/>
          </a:p>
        </p:txBody>
      </p:sp>
      <p:pic>
        <p:nvPicPr>
          <p:cNvPr id="1062" name="Google Shape;1062;p20"/>
          <p:cNvPicPr preferRelativeResize="0">
            <a:picLocks noGrp="1"/>
          </p:cNvPicPr>
          <p:nvPr>
            <p:ph type="pic" idx="2"/>
          </p:nvPr>
        </p:nvPicPr>
        <p:blipFill rotWithShape="1">
          <a:blip r:embed="rId3">
            <a:alphaModFix/>
          </a:blip>
          <a:srcRect t="18877" b="18876"/>
          <a:stretch/>
        </p:blipFill>
        <p:spPr>
          <a:xfrm>
            <a:off x="412577" y="4267200"/>
            <a:ext cx="8729079" cy="25908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pic>
      <p:sp>
        <p:nvSpPr>
          <p:cNvPr id="1063" name="Google Shape;1063;p20"/>
          <p:cNvSpPr txBox="1">
            <a:spLocks noGrp="1"/>
          </p:cNvSpPr>
          <p:nvPr>
            <p:ph type="body" idx="6"/>
          </p:nvPr>
        </p:nvSpPr>
        <p:spPr>
          <a:xfrm>
            <a:off x="2511553" y="3194132"/>
            <a:ext cx="6096000" cy="692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r>
              <a:rPr lang="en-US">
                <a:latin typeface="Candara"/>
                <a:ea typeface="Candara"/>
                <a:cs typeface="Candara"/>
                <a:sym typeface="Candara"/>
              </a:rPr>
              <a:t>Stephen Volz, Ph.D., Assistant Administrator for Satellites and Information Services, National Oceanic and Atmospheric Administration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SzPts val="3200"/>
              <a:buNone/>
            </a:pPr>
            <a:endParaRPr>
              <a:latin typeface="Libre Franklin Medium"/>
              <a:ea typeface="Libre Franklin Medium"/>
              <a:cs typeface="Libre Franklin Medium"/>
              <a:sym typeface="Libre Franklin Medium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_k1BRTRybPKBVtGG1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heme/theme1.xml><?xml version="1.0" encoding="utf-8"?>
<a:theme xmlns:a="http://schemas.openxmlformats.org/drawingml/2006/main" name="1. Title Slide">
  <a:themeElements>
    <a:clrScheme name="PTT 1">
      <a:dk1>
        <a:srgbClr val="0B4596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070C0"/>
      </a:accent2>
      <a:accent3>
        <a:srgbClr val="34C8C9"/>
      </a:accent3>
      <a:accent4>
        <a:srgbClr val="CC9C4A"/>
      </a:accent4>
      <a:accent5>
        <a:srgbClr val="A52B15"/>
      </a:accent5>
      <a:accent6>
        <a:srgbClr val="A74FA9"/>
      </a:accent6>
      <a:hlink>
        <a:srgbClr val="0A52F6"/>
      </a:hlink>
      <a:folHlink>
        <a:srgbClr val="0072A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. Content Slide - with icon">
  <a:themeElements>
    <a:clrScheme name="PTT 1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A74FA9"/>
      </a:accent6>
      <a:hlink>
        <a:srgbClr val="0A52F6"/>
      </a:hlink>
      <a:folHlink>
        <a:srgbClr val="0072A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4. Content Slide - with icon">
  <a:themeElements>
    <a:clrScheme name="PTT 1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A74FA9"/>
      </a:accent6>
      <a:hlink>
        <a:srgbClr val="0A52F6"/>
      </a:hlink>
      <a:folHlink>
        <a:srgbClr val="0072A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4. Content Slide - with icon">
  <a:themeElements>
    <a:clrScheme name="PTT 1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A74FA9"/>
      </a:accent6>
      <a:hlink>
        <a:srgbClr val="0A52F6"/>
      </a:hlink>
      <a:folHlink>
        <a:srgbClr val="0072A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DCM020_CF">
  <a:themeElements>
    <a:clrScheme name="Custom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808080"/>
      </a:accent6>
      <a:hlink>
        <a:srgbClr val="34C8C9"/>
      </a:hlink>
      <a:folHlink>
        <a:srgbClr val="CC9C4A"/>
      </a:folHlink>
    </a:clrScheme>
    <a:fontScheme name="Candara">
      <a:majorFont>
        <a:latin typeface="Candara"/>
        <a:ea typeface=""/>
        <a:cs typeface=""/>
      </a:majorFont>
      <a:minorFont>
        <a:latin typeface="Canda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A4595"/>
        </a:dk1>
        <a:lt1>
          <a:srgbClr val="FFFFFF"/>
        </a:lt1>
        <a:dk2>
          <a:srgbClr val="323B42"/>
        </a:dk2>
        <a:lt2>
          <a:srgbClr val="D6F5FF"/>
        </a:lt2>
        <a:accent1>
          <a:srgbClr val="0099D8"/>
        </a:accent1>
        <a:accent2>
          <a:srgbClr val="0A4595"/>
        </a:accent2>
        <a:accent3>
          <a:srgbClr val="34C8C9"/>
        </a:accent3>
        <a:accent4>
          <a:srgbClr val="CC9C4A"/>
        </a:accent4>
        <a:accent5>
          <a:srgbClr val="A52B15"/>
        </a:accent5>
        <a:accent6>
          <a:srgbClr val="808080"/>
        </a:accent6>
        <a:hlink>
          <a:srgbClr val="34C8C9"/>
        </a:hlink>
        <a:folHlink>
          <a:srgbClr val="CC9C4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CM020_CF.potx [Read-Only]" id="{DE36B21F-41BD-4BF4-88BC-B3DA94B7AAFE}" vid="{EAE7FAD9-9554-48D5-B635-1EC60354E4DA}"/>
    </a:ext>
  </a:extLst>
</a:theme>
</file>

<file path=ppt/theme/theme6.xml><?xml version="1.0" encoding="utf-8"?>
<a:theme xmlns:a="http://schemas.openxmlformats.org/drawingml/2006/main" name="Office Theme">
  <a:themeElements>
    <a:clrScheme name="PTT 1">
      <a:dk1>
        <a:srgbClr val="0A4595"/>
      </a:dk1>
      <a:lt1>
        <a:srgbClr val="FFFFFF"/>
      </a:lt1>
      <a:dk2>
        <a:srgbClr val="323B42"/>
      </a:dk2>
      <a:lt2>
        <a:srgbClr val="D6F5FF"/>
      </a:lt2>
      <a:accent1>
        <a:srgbClr val="0099D8"/>
      </a:accent1>
      <a:accent2>
        <a:srgbClr val="0A4595"/>
      </a:accent2>
      <a:accent3>
        <a:srgbClr val="34C8C9"/>
      </a:accent3>
      <a:accent4>
        <a:srgbClr val="CC9C4A"/>
      </a:accent4>
      <a:accent5>
        <a:srgbClr val="A52B15"/>
      </a:accent5>
      <a:accent6>
        <a:srgbClr val="A74FA9"/>
      </a:accent6>
      <a:hlink>
        <a:srgbClr val="0A52F6"/>
      </a:hlink>
      <a:folHlink>
        <a:srgbClr val="0072A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85</TotalTime>
  <Words>106</Words>
  <Application>Microsoft Office PowerPoint</Application>
  <PresentationFormat>On-screen Show (4:3)</PresentationFormat>
  <Paragraphs>19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Calibri</vt:lpstr>
      <vt:lpstr>Arial</vt:lpstr>
      <vt:lpstr>Arial Unicode MS</vt:lpstr>
      <vt:lpstr>Courier New</vt:lpstr>
      <vt:lpstr>Candara</vt:lpstr>
      <vt:lpstr>Noto Sans Symbols</vt:lpstr>
      <vt:lpstr>Arial Narrow</vt:lpstr>
      <vt:lpstr>Libre Franklin Medium</vt:lpstr>
      <vt:lpstr>1. Title Slide</vt:lpstr>
      <vt:lpstr>4. Content Slide - with icon</vt:lpstr>
      <vt:lpstr>2_4. Content Slide - with icon</vt:lpstr>
      <vt:lpstr>1_4. Content Slide - with icon</vt:lpstr>
      <vt:lpstr>DCM020_CF</vt:lpstr>
      <vt:lpstr>think-cell Slide</vt:lpstr>
      <vt:lpstr>PowerPoint Presentation</vt:lpstr>
      <vt:lpstr>PowerPoint Presentation</vt:lpstr>
      <vt:lpstr>Discover value through listen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Winstead</dc:creator>
  <cp:lastModifiedBy>Robert Macadaeg</cp:lastModifiedBy>
  <cp:revision>98</cp:revision>
  <cp:lastPrinted>2019-12-10T17:41:56Z</cp:lastPrinted>
  <dcterms:modified xsi:type="dcterms:W3CDTF">2020-02-21T19:23:08Z</dcterms:modified>
</cp:coreProperties>
</file>